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9" r:id="rId1"/>
    <p:sldMasterId id="2147483790" r:id="rId2"/>
    <p:sldMasterId id="2147483799" r:id="rId3"/>
    <p:sldMasterId id="2147483808" r:id="rId4"/>
    <p:sldMasterId id="2147483817" r:id="rId5"/>
    <p:sldMasterId id="2147483826" r:id="rId6"/>
    <p:sldMasterId id="2147483836" r:id="rId7"/>
  </p:sldMasterIdLst>
  <p:notesMasterIdLst>
    <p:notesMasterId r:id="rId21"/>
  </p:notesMasterIdLst>
  <p:handoutMasterIdLst>
    <p:handoutMasterId r:id="rId22"/>
  </p:handoutMasterIdLst>
  <p:sldIdLst>
    <p:sldId id="1835" r:id="rId8"/>
    <p:sldId id="1917" r:id="rId9"/>
    <p:sldId id="1915" r:id="rId10"/>
    <p:sldId id="1508" r:id="rId11"/>
    <p:sldId id="257" r:id="rId12"/>
    <p:sldId id="1889" r:id="rId13"/>
    <p:sldId id="1910" r:id="rId14"/>
    <p:sldId id="1423" r:id="rId15"/>
    <p:sldId id="1909" r:id="rId16"/>
    <p:sldId id="1913" r:id="rId17"/>
    <p:sldId id="1916" r:id="rId18"/>
    <p:sldId id="1914" r:id="rId19"/>
    <p:sldId id="1888" r:id="rId20"/>
  </p:sldIdLst>
  <p:sldSz cx="11522075" cy="6480175"/>
  <p:notesSz cx="6742113" cy="9872663"/>
  <p:custDataLst>
    <p:tags r:id="rId23"/>
  </p:custDataLst>
  <p:defaultTextStyle>
    <a:defPPr>
      <a:defRPr lang="de-DE"/>
    </a:defPPr>
    <a:lvl1pPr algn="ctr" rtl="0" eaLnBrk="0" fontAlgn="base" hangingPunct="0">
      <a:lnSpc>
        <a:spcPct val="95000"/>
      </a:lnSpc>
      <a:spcBef>
        <a:spcPct val="0"/>
      </a:spcBef>
      <a:spcAft>
        <a:spcPct val="0"/>
      </a:spcAft>
      <a:buClr>
        <a:schemeClr val="tx2"/>
      </a:buClr>
      <a:buSzPct val="70000"/>
      <a:buFont typeface="Wingdings" pitchFamily="2" charset="2"/>
      <a:defRPr sz="2400" kern="1200">
        <a:solidFill>
          <a:schemeClr val="tx1"/>
        </a:solidFill>
        <a:latin typeface="TUIType" pitchFamily="34" charset="0"/>
        <a:ea typeface="+mn-ea"/>
        <a:cs typeface="+mn-cs"/>
      </a:defRPr>
    </a:lvl1pPr>
    <a:lvl2pPr marL="457200" algn="ctr" rtl="0" eaLnBrk="0" fontAlgn="base" hangingPunct="0">
      <a:lnSpc>
        <a:spcPct val="95000"/>
      </a:lnSpc>
      <a:spcBef>
        <a:spcPct val="0"/>
      </a:spcBef>
      <a:spcAft>
        <a:spcPct val="0"/>
      </a:spcAft>
      <a:buClr>
        <a:schemeClr val="tx2"/>
      </a:buClr>
      <a:buSzPct val="70000"/>
      <a:buFont typeface="Wingdings" pitchFamily="2" charset="2"/>
      <a:defRPr sz="2400" kern="1200">
        <a:solidFill>
          <a:schemeClr val="tx1"/>
        </a:solidFill>
        <a:latin typeface="TUIType" pitchFamily="34" charset="0"/>
        <a:ea typeface="+mn-ea"/>
        <a:cs typeface="+mn-cs"/>
      </a:defRPr>
    </a:lvl2pPr>
    <a:lvl3pPr marL="914400" algn="ctr" rtl="0" eaLnBrk="0" fontAlgn="base" hangingPunct="0">
      <a:lnSpc>
        <a:spcPct val="95000"/>
      </a:lnSpc>
      <a:spcBef>
        <a:spcPct val="0"/>
      </a:spcBef>
      <a:spcAft>
        <a:spcPct val="0"/>
      </a:spcAft>
      <a:buClr>
        <a:schemeClr val="tx2"/>
      </a:buClr>
      <a:buSzPct val="70000"/>
      <a:buFont typeface="Wingdings" pitchFamily="2" charset="2"/>
      <a:defRPr sz="2400" kern="1200">
        <a:solidFill>
          <a:schemeClr val="tx1"/>
        </a:solidFill>
        <a:latin typeface="TUIType" pitchFamily="34" charset="0"/>
        <a:ea typeface="+mn-ea"/>
        <a:cs typeface="+mn-cs"/>
      </a:defRPr>
    </a:lvl3pPr>
    <a:lvl4pPr marL="1371600" algn="ctr" rtl="0" eaLnBrk="0" fontAlgn="base" hangingPunct="0">
      <a:lnSpc>
        <a:spcPct val="95000"/>
      </a:lnSpc>
      <a:spcBef>
        <a:spcPct val="0"/>
      </a:spcBef>
      <a:spcAft>
        <a:spcPct val="0"/>
      </a:spcAft>
      <a:buClr>
        <a:schemeClr val="tx2"/>
      </a:buClr>
      <a:buSzPct val="70000"/>
      <a:buFont typeface="Wingdings" pitchFamily="2" charset="2"/>
      <a:defRPr sz="2400" kern="1200">
        <a:solidFill>
          <a:schemeClr val="tx1"/>
        </a:solidFill>
        <a:latin typeface="TUIType" pitchFamily="34" charset="0"/>
        <a:ea typeface="+mn-ea"/>
        <a:cs typeface="+mn-cs"/>
      </a:defRPr>
    </a:lvl4pPr>
    <a:lvl5pPr marL="1828800" algn="ctr" rtl="0" eaLnBrk="0" fontAlgn="base" hangingPunct="0">
      <a:lnSpc>
        <a:spcPct val="95000"/>
      </a:lnSpc>
      <a:spcBef>
        <a:spcPct val="0"/>
      </a:spcBef>
      <a:spcAft>
        <a:spcPct val="0"/>
      </a:spcAft>
      <a:buClr>
        <a:schemeClr val="tx2"/>
      </a:buClr>
      <a:buSzPct val="70000"/>
      <a:buFont typeface="Wingdings" pitchFamily="2" charset="2"/>
      <a:defRPr sz="2400" kern="1200">
        <a:solidFill>
          <a:schemeClr val="tx1"/>
        </a:solidFill>
        <a:latin typeface="TUIType" pitchFamily="34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UIType" pitchFamily="34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UIType" pitchFamily="34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UIType" pitchFamily="34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UIType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3612">
          <p15:clr>
            <a:srgbClr val="A4A3A4"/>
          </p15:clr>
        </p15:guide>
        <p15:guide id="4" orient="horz" pos="890" userDrawn="1">
          <p15:clr>
            <a:srgbClr val="A4A3A4"/>
          </p15:clr>
        </p15:guide>
        <p15:guide id="5" pos="317">
          <p15:clr>
            <a:srgbClr val="A4A3A4"/>
          </p15:clr>
        </p15:guide>
        <p15:guide id="6" pos="5443">
          <p15:clr>
            <a:srgbClr val="A4A3A4"/>
          </p15:clr>
        </p15:guide>
        <p15:guide id="7" orient="horz" pos="3413">
          <p15:clr>
            <a:srgbClr val="A4A3A4"/>
          </p15:clr>
        </p15:guide>
        <p15:guide id="8" orient="horz" pos="841">
          <p15:clr>
            <a:srgbClr val="A4A3A4"/>
          </p15:clr>
        </p15:guide>
        <p15:guide id="9" pos="399">
          <p15:clr>
            <a:srgbClr val="A4A3A4"/>
          </p15:clr>
        </p15:guide>
        <p15:guide id="10" pos="68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095">
          <p15:clr>
            <a:srgbClr val="A4A3A4"/>
          </p15:clr>
        </p15:guide>
        <p15:guide id="2" pos="3071">
          <p15:clr>
            <a:srgbClr val="A4A3A4"/>
          </p15:clr>
        </p15:guide>
        <p15:guide id="3" orient="horz" pos="3109">
          <p15:clr>
            <a:srgbClr val="A4A3A4"/>
          </p15:clr>
        </p15:guide>
        <p15:guide id="4" pos="212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Northedge, Alyson" initials="NA" lastIdx="1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70CBF4"/>
    <a:srgbClr val="C2E6FA"/>
    <a:srgbClr val="9B9B9B"/>
    <a:srgbClr val="AAD700"/>
    <a:srgbClr val="DCDCDC"/>
    <a:srgbClr val="FFE100"/>
    <a:srgbClr val="73AFDC"/>
    <a:srgbClr val="092A5E"/>
    <a:srgbClr val="DDF1FD"/>
    <a:srgbClr val="6464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CEF4869-0584-8249-A1A2-BE5444D0BBBD}" v="35" dt="2021-05-03T11:41:14.4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937" autoAdjust="0"/>
    <p:restoredTop sz="96208" autoAdjust="0"/>
  </p:normalViewPr>
  <p:slideViewPr>
    <p:cSldViewPr snapToObjects="1" showGuides="1">
      <p:cViewPr varScale="1">
        <p:scale>
          <a:sx n="131" d="100"/>
          <a:sy n="131" d="100"/>
        </p:scale>
        <p:origin x="200" y="176"/>
      </p:cViewPr>
      <p:guideLst>
        <p:guide orient="horz" pos="3612"/>
        <p:guide orient="horz" pos="890"/>
        <p:guide pos="317"/>
        <p:guide pos="5443"/>
        <p:guide orient="horz" pos="3413"/>
        <p:guide orient="horz" pos="841"/>
        <p:guide pos="399"/>
        <p:guide pos="6859"/>
      </p:guideLst>
    </p:cSldViewPr>
  </p:slideViewPr>
  <p:outlineViewPr>
    <p:cViewPr>
      <p:scale>
        <a:sx n="33" d="100"/>
        <a:sy n="33" d="100"/>
      </p:scale>
      <p:origin x="0" y="63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49" d="100"/>
        <a:sy n="149" d="100"/>
      </p:scale>
      <p:origin x="0" y="0"/>
    </p:cViewPr>
  </p:sorterViewPr>
  <p:notesViewPr>
    <p:cSldViewPr snapToObjects="1" showGuides="1">
      <p:cViewPr varScale="1">
        <p:scale>
          <a:sx n="69" d="100"/>
          <a:sy n="69" d="100"/>
        </p:scale>
        <p:origin x="3516" y="72"/>
      </p:cViewPr>
      <p:guideLst>
        <p:guide orient="horz" pos="4095"/>
        <p:guide pos="3071"/>
        <p:guide orient="horz" pos="3109"/>
        <p:guide pos="212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559684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92100" y="862013"/>
            <a:ext cx="6157913" cy="346392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" name="Notizenplatzhalter 1"/>
          <p:cNvSpPr>
            <a:spLocks noGrp="1"/>
          </p:cNvSpPr>
          <p:nvPr>
            <p:ph type="body" sz="quarter" idx="3"/>
          </p:nvPr>
        </p:nvSpPr>
        <p:spPr>
          <a:xfrm>
            <a:off x="673882" y="4689847"/>
            <a:ext cx="5394349" cy="4442758"/>
          </a:xfrm>
          <a:prstGeom prst="rect">
            <a:avLst/>
          </a:prstGeom>
        </p:spPr>
        <p:txBody>
          <a:bodyPr vert="horz" lIns="66760" tIns="33380" rIns="66760" bIns="33380" rtlCol="0"/>
          <a:lstStyle/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194090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266700" indent="-266700" algn="l" defTabSz="793750" rtl="0" eaLnBrk="0" fontAlgn="base" hangingPunct="0">
      <a:spcBef>
        <a:spcPct val="30000"/>
      </a:spcBef>
      <a:spcAft>
        <a:spcPct val="0"/>
      </a:spcAft>
      <a:buClrTx/>
      <a:buSzPct val="100000"/>
      <a:buFont typeface="Arial" pitchFamily="34" charset="0"/>
      <a:buChar char="•"/>
      <a:defRPr lang="de-DE" sz="20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542925" indent="-276225" algn="l" defTabSz="793750" rtl="0" eaLnBrk="0" fontAlgn="base" hangingPunct="0">
      <a:spcBef>
        <a:spcPct val="30000"/>
      </a:spcBef>
      <a:spcAft>
        <a:spcPct val="0"/>
      </a:spcAft>
      <a:buClrTx/>
      <a:buSzPct val="100000"/>
      <a:buFont typeface="Arial" pitchFamily="34" charset="0"/>
      <a:buChar char="•"/>
      <a:defRPr lang="de-DE" sz="20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809625" indent="-266700" algn="l" defTabSz="793750" rtl="0" eaLnBrk="0" fontAlgn="base" hangingPunct="0">
      <a:spcBef>
        <a:spcPct val="30000"/>
      </a:spcBef>
      <a:spcAft>
        <a:spcPct val="0"/>
      </a:spcAft>
      <a:buClrTx/>
      <a:buSzPct val="100000"/>
      <a:buFont typeface="Arial" pitchFamily="34" charset="0"/>
      <a:buChar char="•"/>
      <a:defRPr lang="de-DE" sz="20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076325" indent="-266700" algn="l" defTabSz="793750" rtl="0" eaLnBrk="0" fontAlgn="base" hangingPunct="0">
      <a:spcBef>
        <a:spcPct val="30000"/>
      </a:spcBef>
      <a:spcAft>
        <a:spcPct val="0"/>
      </a:spcAft>
      <a:buClrTx/>
      <a:buSzPct val="100000"/>
      <a:buFont typeface="Arial" pitchFamily="34" charset="0"/>
      <a:buChar char="•"/>
      <a:defRPr lang="de-DE" sz="20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343025" indent="-266700" algn="l" defTabSz="793750" rtl="0" eaLnBrk="0" fontAlgn="base" hangingPunct="0">
      <a:spcBef>
        <a:spcPct val="30000"/>
      </a:spcBef>
      <a:spcAft>
        <a:spcPct val="0"/>
      </a:spcAft>
      <a:buClrTx/>
      <a:buSzPct val="100000"/>
      <a:buFont typeface="Arial" pitchFamily="34" charset="0"/>
      <a:buChar char="•"/>
      <a:defRPr lang="de-DE" sz="2000" kern="1200" dirty="0" smtClean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2922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7664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47362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87960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8873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20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o is  TUI?</a:t>
            </a:r>
            <a:endParaRPr lang="en-GB" sz="2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None/>
            </a:pPr>
            <a:endParaRPr lang="en-GB" sz="2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1"/>
            <a:r>
              <a:rPr lang="en-GB" sz="2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I is a world leading travel business with €19.5 </a:t>
            </a:r>
            <a:r>
              <a:rPr lang="en-GB" sz="20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n</a:t>
            </a:r>
            <a:r>
              <a:rPr lang="en-GB" sz="2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urnover</a:t>
            </a:r>
          </a:p>
          <a:p>
            <a:pPr marL="542925" marR="0" lvl="1" indent="-276225" algn="l" defTabSz="79375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•"/>
              <a:tabLst/>
              <a:defRPr/>
            </a:pPr>
            <a:r>
              <a:rPr lang="en-GB" sz="2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 visit our website or shop, fly on our plane, sail on our ship, stay at our hotel and experience our destination excursions. </a:t>
            </a:r>
          </a:p>
          <a:p>
            <a:pPr lvl="1"/>
            <a:r>
              <a:rPr lang="en-GB" sz="2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take 27m passengers on holiday to 115 destinations</a:t>
            </a:r>
          </a:p>
          <a:p>
            <a:pPr lvl="1"/>
            <a:r>
              <a:rPr lang="en-GB" sz="2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have over 400 million product combinations on sales with over 8 million price updates / hour.</a:t>
            </a:r>
          </a:p>
          <a:p>
            <a:endParaRPr lang="en-GB" sz="2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None/>
            </a:pP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8420520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4EEF1-2B5A-4443-A55D-199CE360240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2645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8630997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6335271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9213451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24648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4404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auto">
          <a:xfrm>
            <a:off x="316933" y="3784416"/>
            <a:ext cx="10893086" cy="2458987"/>
          </a:xfrm>
          <a:prstGeom prst="rect">
            <a:avLst/>
          </a:prstGeom>
          <a:gradFill flip="none" rotWithShape="1">
            <a:gsLst>
              <a:gs pos="0">
                <a:srgbClr val="00A8E7">
                  <a:alpha val="75000"/>
                </a:srgbClr>
              </a:gs>
              <a:gs pos="100000">
                <a:srgbClr val="70CBF4">
                  <a:alpha val="75000"/>
                </a:srgbClr>
              </a:gs>
            </a:gsLst>
            <a:lin ang="2400000" scaled="0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 marL="0" marR="0" lvl="0" indent="0" defTabSz="914400" latinLnBrk="0">
              <a:lnSpc>
                <a:spcPct val="80000"/>
              </a:lnSpc>
              <a:buClrTx/>
              <a:buSzTx/>
              <a:buNone/>
              <a:tabLst/>
            </a:pPr>
            <a:endParaRPr kumimoji="0" lang="de-DE" sz="1400" b="1" i="0" u="none" strike="noStrike" kern="0" cap="none" spc="0" normalizeH="0" baseline="0" dirty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"/>
            </a:endParaRPr>
          </a:p>
        </p:txBody>
      </p:sp>
      <p:sp>
        <p:nvSpPr>
          <p:cNvPr id="3" name="Titel 2"/>
          <p:cNvSpPr>
            <a:spLocks noGrp="1"/>
          </p:cNvSpPr>
          <p:nvPr userDrawn="1">
            <p:ph type="title" hasCustomPrompt="1"/>
          </p:nvPr>
        </p:nvSpPr>
        <p:spPr>
          <a:xfrm>
            <a:off x="634118" y="4198529"/>
            <a:ext cx="10253847" cy="612368"/>
          </a:xfrm>
        </p:spPr>
        <p:txBody>
          <a:bodyPr anchor="t" anchorCtr="0"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 slide</a:t>
            </a:r>
          </a:p>
        </p:txBody>
      </p:sp>
      <p:sp>
        <p:nvSpPr>
          <p:cNvPr id="6" name="Textplatzhalter 5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34118" y="4734010"/>
            <a:ext cx="10253847" cy="479266"/>
          </a:xfr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Subtitle</a:t>
            </a:r>
          </a:p>
          <a:p>
            <a:pPr lvl="0"/>
            <a:endParaRPr lang="en-GB" noProof="0" dirty="0"/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1656" y="5448479"/>
            <a:ext cx="1655914" cy="544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374369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 bwMode="auto">
          <a:xfrm>
            <a:off x="251526" y="250457"/>
            <a:ext cx="11018651" cy="597794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Titel 2"/>
          <p:cNvSpPr>
            <a:spLocks noGrp="1"/>
          </p:cNvSpPr>
          <p:nvPr>
            <p:ph type="title" hasCustomPrompt="1"/>
          </p:nvPr>
        </p:nvSpPr>
        <p:spPr>
          <a:xfrm>
            <a:off x="504829" y="1021899"/>
            <a:ext cx="10512425" cy="612368"/>
          </a:xfrm>
        </p:spPr>
        <p:txBody>
          <a:bodyPr anchor="t" anchorCtr="0"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Divider slide</a:t>
            </a:r>
            <a:endParaRPr lang="de-DE" noProof="0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04830" y="1590424"/>
            <a:ext cx="10512425" cy="1262981"/>
          </a:xfr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504826" y="6002426"/>
            <a:ext cx="271236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>
              <a:buClrTx/>
              <a:buSzTx/>
              <a:buFontTx/>
              <a:buNone/>
              <a:defRPr sz="800"/>
            </a:lvl1pPr>
          </a:lstStyle>
          <a:p>
            <a:fld id="{BF68F70B-AC95-45BE-AEB8-15EAB33A653A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4410" y="5859036"/>
            <a:ext cx="338572" cy="270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470037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251905" y="5760572"/>
            <a:ext cx="11018266" cy="467823"/>
          </a:xfrm>
          <a:prstGeom prst="rect">
            <a:avLst/>
          </a:prstGeom>
          <a:gradFill flip="none" rotWithShape="1">
            <a:gsLst>
              <a:gs pos="0">
                <a:srgbClr val="00A8E7">
                  <a:alpha val="75000"/>
                </a:srgbClr>
              </a:gs>
              <a:gs pos="100000">
                <a:srgbClr val="70CBF4">
                  <a:alpha val="75000"/>
                </a:srgbClr>
              </a:gs>
            </a:gsLst>
            <a:lin ang="2400000" scaled="0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Titel 2"/>
          <p:cNvSpPr>
            <a:spLocks noGrp="1"/>
          </p:cNvSpPr>
          <p:nvPr>
            <p:ph type="title" hasCustomPrompt="1"/>
          </p:nvPr>
        </p:nvSpPr>
        <p:spPr>
          <a:xfrm>
            <a:off x="504829" y="1021899"/>
            <a:ext cx="10512425" cy="612368"/>
          </a:xfrm>
        </p:spPr>
        <p:txBody>
          <a:bodyPr anchor="t" anchorCtr="0"/>
          <a:lstStyle>
            <a:lvl1pPr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ivider slide</a:t>
            </a:r>
            <a:endParaRPr lang="de-DE" noProof="0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04830" y="1590424"/>
            <a:ext cx="10512425" cy="1262981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504826" y="6002426"/>
            <a:ext cx="271236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>
              <a:buClrTx/>
              <a:buSzTx/>
              <a:buFontTx/>
              <a:buNone/>
              <a:defRPr sz="800"/>
            </a:lvl1pPr>
          </a:lstStyle>
          <a:p>
            <a:fld id="{BF68F70B-AC95-45BE-AEB8-15EAB33A653A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4410" y="5859036"/>
            <a:ext cx="338572" cy="270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385037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 with source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06936" y="5801810"/>
            <a:ext cx="8413200" cy="17050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Footnote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265611642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06936" y="5801810"/>
            <a:ext cx="8413200" cy="17050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Footnote etc. (Click to activate) &gt;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5"/>
          </p:nvPr>
        </p:nvSpPr>
        <p:spPr>
          <a:xfrm>
            <a:off x="503243" y="1404250"/>
            <a:ext cx="10514011" cy="395639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5590642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04830" y="1404255"/>
            <a:ext cx="10512425" cy="3958872"/>
          </a:xfrm>
          <a:prstGeom prst="rect">
            <a:avLst/>
          </a:prstGeom>
        </p:spPr>
        <p:txBody>
          <a:bodyPr/>
          <a:lstStyle>
            <a:lvl1pPr marL="266700" indent="-266700">
              <a:defRPr/>
            </a:lvl1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06936" y="5801810"/>
            <a:ext cx="8413200" cy="17050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Footnote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2387718999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 Headline and 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04828" y="1404255"/>
            <a:ext cx="5148263" cy="39588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868988" y="1404255"/>
            <a:ext cx="5148262" cy="39588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06936" y="5801810"/>
            <a:ext cx="8413200" cy="17050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Footnote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3812678377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,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868988" y="1404255"/>
            <a:ext cx="5148262" cy="3958872"/>
          </a:xfrm>
          <a:prstGeom prst="rect">
            <a:avLst/>
          </a:prstGeom>
        </p:spPr>
        <p:txBody>
          <a:bodyPr/>
          <a:lstStyle>
            <a:lvl1pPr>
              <a:spcBef>
                <a:spcPts val="500"/>
              </a:spcBef>
              <a:defRPr/>
            </a:lvl1pPr>
            <a:lvl2pPr>
              <a:spcBef>
                <a:spcPts val="500"/>
              </a:spcBef>
              <a:defRPr/>
            </a:lvl2pPr>
            <a:lvl3pPr>
              <a:spcBef>
                <a:spcPts val="500"/>
              </a:spcBef>
              <a:defRPr/>
            </a:lvl3pPr>
            <a:lvl4pPr>
              <a:spcBef>
                <a:spcPts val="500"/>
              </a:spcBef>
              <a:defRPr/>
            </a:lvl4pPr>
            <a:lvl5pPr>
              <a:spcBef>
                <a:spcPts val="500"/>
              </a:spcBef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 bwMode="gray">
          <a:xfrm>
            <a:off x="504828" y="1404255"/>
            <a:ext cx="5148263" cy="39588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06936" y="5801810"/>
            <a:ext cx="8413200" cy="17050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Footnote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980291937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y-N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y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y-NL"/>
              <a:t>TUI Group | CTO  - Pieter Jordaan  | DOES Keynote| 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21E7EE-7BD0-4FB9-A6C2-2C27211ED096}" type="slidenum">
              <a:rPr lang="fy-NL" smtClean="0"/>
              <a:t>‹#›</a:t>
            </a:fld>
            <a:endParaRPr lang="fy-NL"/>
          </a:p>
        </p:txBody>
      </p:sp>
    </p:spTree>
    <p:extLst>
      <p:ext uri="{BB962C8B-B14F-4D97-AF65-F5344CB8AC3E}">
        <p14:creationId xmlns:p14="http://schemas.microsoft.com/office/powerpoint/2010/main" val="36296885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auto">
          <a:xfrm>
            <a:off x="316933" y="3784416"/>
            <a:ext cx="10893086" cy="2458987"/>
          </a:xfrm>
          <a:prstGeom prst="rect">
            <a:avLst/>
          </a:prstGeom>
          <a:gradFill flip="none" rotWithShape="1">
            <a:gsLst>
              <a:gs pos="0">
                <a:srgbClr val="00A8E7">
                  <a:alpha val="75000"/>
                </a:srgbClr>
              </a:gs>
              <a:gs pos="100000">
                <a:srgbClr val="70CBF4">
                  <a:alpha val="75000"/>
                </a:srgbClr>
              </a:gs>
            </a:gsLst>
            <a:lin ang="2400000" scaled="0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sp>
        <p:nvSpPr>
          <p:cNvPr id="3" name="Titel 2"/>
          <p:cNvSpPr>
            <a:spLocks noGrp="1"/>
          </p:cNvSpPr>
          <p:nvPr userDrawn="1">
            <p:ph type="title" hasCustomPrompt="1"/>
          </p:nvPr>
        </p:nvSpPr>
        <p:spPr>
          <a:xfrm>
            <a:off x="634118" y="4198529"/>
            <a:ext cx="10253847" cy="612368"/>
          </a:xfrm>
        </p:spPr>
        <p:txBody>
          <a:bodyPr anchor="t" anchorCtr="0"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 slide</a:t>
            </a:r>
          </a:p>
        </p:txBody>
      </p:sp>
      <p:sp>
        <p:nvSpPr>
          <p:cNvPr id="6" name="Textplatzhalter 5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34118" y="4734010"/>
            <a:ext cx="10253847" cy="479266"/>
          </a:xfr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Subtitle</a:t>
            </a:r>
          </a:p>
          <a:p>
            <a:pPr lvl="0"/>
            <a:endParaRPr lang="en-GB" noProof="0" dirty="0"/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1656" y="5448479"/>
            <a:ext cx="1655914" cy="544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619992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auto">
          <a:xfrm>
            <a:off x="316933" y="236772"/>
            <a:ext cx="10893086" cy="6006631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sp>
        <p:nvSpPr>
          <p:cNvPr id="5" name="Titel 2"/>
          <p:cNvSpPr>
            <a:spLocks noGrp="1"/>
          </p:cNvSpPr>
          <p:nvPr>
            <p:ph type="title" hasCustomPrompt="1"/>
          </p:nvPr>
        </p:nvSpPr>
        <p:spPr>
          <a:xfrm>
            <a:off x="634118" y="966073"/>
            <a:ext cx="10253847" cy="612368"/>
          </a:xfrm>
        </p:spPr>
        <p:txBody>
          <a:bodyPr anchor="t" anchorCtr="0"/>
          <a:lstStyle>
            <a:lvl1pPr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 </a:t>
            </a:r>
            <a:r>
              <a:rPr lang="de-DE" noProof="0" dirty="0" err="1"/>
              <a:t>slide</a:t>
            </a:r>
            <a:endParaRPr lang="en-GB" noProof="0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34118" y="1503537"/>
            <a:ext cx="10253847" cy="1193985"/>
          </a:xfr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feld 11"/>
          <p:cNvSpPr txBox="1"/>
          <p:nvPr userDrawn="1"/>
        </p:nvSpPr>
        <p:spPr>
          <a:xfrm>
            <a:off x="635475" y="6029781"/>
            <a:ext cx="271236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>
              <a:buClrTx/>
              <a:buSzTx/>
              <a:buFontTx/>
              <a:buNone/>
              <a:defRPr sz="800"/>
            </a:lvl1pPr>
          </a:lstStyle>
          <a:p>
            <a:fld id="{BF68F70B-AC95-45BE-AEB8-15EAB33A653A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0368" y="5894220"/>
            <a:ext cx="426624" cy="256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491609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auto">
          <a:xfrm>
            <a:off x="316933" y="236772"/>
            <a:ext cx="10893086" cy="6006631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 algn="ctr">
              <a:lnSpc>
                <a:spcPct val="80000"/>
              </a:lnSpc>
              <a:buClrTx/>
              <a:buSzTx/>
            </a:pPr>
            <a:endParaRPr lang="de-DE" sz="1400" b="1" kern="0" dirty="0">
              <a:latin typeface="TUIType"/>
            </a:endParaRPr>
          </a:p>
        </p:txBody>
      </p:sp>
      <p:sp>
        <p:nvSpPr>
          <p:cNvPr id="5" name="Titel 2"/>
          <p:cNvSpPr>
            <a:spLocks noGrp="1"/>
          </p:cNvSpPr>
          <p:nvPr>
            <p:ph type="title" hasCustomPrompt="1"/>
          </p:nvPr>
        </p:nvSpPr>
        <p:spPr>
          <a:xfrm>
            <a:off x="634118" y="966073"/>
            <a:ext cx="10253847" cy="612368"/>
          </a:xfrm>
        </p:spPr>
        <p:txBody>
          <a:bodyPr anchor="t" anchorCtr="0"/>
          <a:lstStyle>
            <a:lvl1pPr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 </a:t>
            </a:r>
            <a:r>
              <a:rPr lang="de-DE" noProof="0" dirty="0" err="1"/>
              <a:t>slide</a:t>
            </a:r>
            <a:endParaRPr lang="en-GB" noProof="0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34118" y="1503537"/>
            <a:ext cx="10253847" cy="1193985"/>
          </a:xfr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TUI Group | CTO  - Pieter Jordaan  | DOES Keynote|  2021</a:t>
            </a:r>
            <a:endParaRPr lang="en-GB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635475" y="6029781"/>
            <a:ext cx="271236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>
              <a:buClrTx/>
              <a:buSzTx/>
              <a:buFontTx/>
              <a:buNone/>
              <a:defRPr sz="800"/>
            </a:lvl1pPr>
          </a:lstStyle>
          <a:p>
            <a:pPr lvl="0"/>
            <a:fld id="{BF68F70B-AC95-45BE-AEB8-15EAB33A653A}" type="slidenum">
              <a:rPr lang="en-GB" noProof="0" smtClean="0">
                <a:solidFill>
                  <a:schemeClr val="bg1"/>
                </a:solidFill>
              </a:rPr>
              <a:pPr lvl="0"/>
              <a:t>‹#›</a:t>
            </a:fld>
            <a:endParaRPr lang="en-GB" noProof="0" dirty="0">
              <a:solidFill>
                <a:schemeClr val="bg1"/>
              </a:solidFill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0368" y="5894220"/>
            <a:ext cx="426624" cy="256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911205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auto">
          <a:xfrm>
            <a:off x="317417" y="5801139"/>
            <a:ext cx="10887242" cy="442265"/>
          </a:xfrm>
          <a:prstGeom prst="rect">
            <a:avLst/>
          </a:prstGeom>
          <a:gradFill flip="none" rotWithShape="1">
            <a:gsLst>
              <a:gs pos="0">
                <a:srgbClr val="00A8E7">
                  <a:alpha val="75000"/>
                </a:srgbClr>
              </a:gs>
              <a:gs pos="100000">
                <a:srgbClr val="70CBF4">
                  <a:alpha val="75000"/>
                </a:srgbClr>
              </a:gs>
            </a:gsLst>
            <a:lin ang="2400000" scaled="0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sp>
        <p:nvSpPr>
          <p:cNvPr id="5" name="Titel 2"/>
          <p:cNvSpPr>
            <a:spLocks noGrp="1"/>
          </p:cNvSpPr>
          <p:nvPr>
            <p:ph type="title" hasCustomPrompt="1"/>
          </p:nvPr>
        </p:nvSpPr>
        <p:spPr>
          <a:xfrm>
            <a:off x="634118" y="966073"/>
            <a:ext cx="10253847" cy="612368"/>
          </a:xfrm>
        </p:spPr>
        <p:txBody>
          <a:bodyPr anchor="t" anchorCtr="0"/>
          <a:lstStyle>
            <a:lvl1pPr>
              <a:defRPr sz="4000" b="1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 </a:t>
            </a:r>
            <a:r>
              <a:rPr lang="de-DE" noProof="0" dirty="0" err="1"/>
              <a:t>slide</a:t>
            </a:r>
            <a:endParaRPr lang="en-GB" noProof="0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34118" y="1503537"/>
            <a:ext cx="10253847" cy="119398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feld 11"/>
          <p:cNvSpPr txBox="1"/>
          <p:nvPr userDrawn="1"/>
        </p:nvSpPr>
        <p:spPr>
          <a:xfrm>
            <a:off x="635475" y="6029781"/>
            <a:ext cx="271236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>
              <a:buClrTx/>
              <a:buSzTx/>
              <a:buFontTx/>
              <a:buNone/>
              <a:defRPr sz="800"/>
            </a:lvl1pPr>
          </a:lstStyle>
          <a:p>
            <a:fld id="{BF68F70B-AC95-45BE-AEB8-15EAB33A653A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0368" y="5894220"/>
            <a:ext cx="426624" cy="256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120315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 with source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889305" y="5893682"/>
            <a:ext cx="8732281" cy="113926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</a:t>
            </a:r>
            <a:r>
              <a:rPr lang="en-GB" dirty="0" err="1"/>
              <a:t>Ffootnote</a:t>
            </a:r>
            <a:r>
              <a:rPr lang="en-GB" dirty="0"/>
              <a:t>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3036287028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1"/>
          <p:cNvSpPr>
            <a:spLocks noGrp="1"/>
          </p:cNvSpPr>
          <p:nvPr>
            <p:ph sz="quarter" idx="12"/>
          </p:nvPr>
        </p:nvSpPr>
        <p:spPr>
          <a:xfrm>
            <a:off x="634118" y="1335036"/>
            <a:ext cx="10253844" cy="4083111"/>
          </a:xfrm>
        </p:spPr>
        <p:txBody>
          <a:bodyPr/>
          <a:lstStyle>
            <a:lvl1pPr>
              <a:defRPr baseline="0">
                <a:ln>
                  <a:noFill/>
                </a:ln>
                <a:solidFill>
                  <a:schemeClr val="tx1"/>
                </a:solidFill>
              </a:defRPr>
            </a:lvl1pPr>
            <a:lvl2pPr marL="179388" indent="0">
              <a:buNone/>
              <a:defRPr/>
            </a:lvl2pPr>
            <a:lvl3pPr marL="357188" indent="0">
              <a:buNone/>
              <a:defRPr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889305" y="5893682"/>
            <a:ext cx="8732281" cy="113926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</a:t>
            </a:r>
            <a:r>
              <a:rPr lang="en-GB" dirty="0" err="1"/>
              <a:t>Ffootnote</a:t>
            </a:r>
            <a:r>
              <a:rPr lang="en-GB" dirty="0"/>
              <a:t> etc. (Click to activate) &gt;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373931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35077" y="1335039"/>
            <a:ext cx="10252886" cy="4083110"/>
          </a:xfrm>
          <a:prstGeom prst="rect">
            <a:avLst/>
          </a:prstGeom>
        </p:spPr>
        <p:txBody>
          <a:bodyPr/>
          <a:lstStyle>
            <a:lvl1pPr marL="177800" indent="-177800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889305" y="5893682"/>
            <a:ext cx="8732281" cy="113926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</a:t>
            </a:r>
            <a:r>
              <a:rPr lang="en-GB" dirty="0" err="1"/>
              <a:t>Ffootnote</a:t>
            </a:r>
            <a:r>
              <a:rPr lang="en-GB" dirty="0"/>
              <a:t>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2541512109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 Headline and 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34116" y="1335039"/>
            <a:ext cx="5036906" cy="40831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For final </a:t>
            </a:r>
            <a:r>
              <a:rPr lang="en-GB" noProof="0" dirty="0"/>
              <a:t>versions</a:t>
            </a:r>
            <a:r>
              <a:rPr lang="en-US" noProof="0" dirty="0"/>
              <a:t>, presentation modus etc. please </a:t>
            </a:r>
            <a:r>
              <a:rPr lang="en-GB" noProof="0" dirty="0"/>
              <a:t>deactivate</a:t>
            </a:r>
            <a:r>
              <a:rPr lang="en-US" noProof="0" dirty="0"/>
              <a:t>  orange frame by changing its colour to white in the slide master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851056" y="1335039"/>
            <a:ext cx="5036906" cy="40831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889305" y="5893682"/>
            <a:ext cx="8732281" cy="113926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</a:t>
            </a:r>
            <a:r>
              <a:rPr lang="en-GB" dirty="0" err="1"/>
              <a:t>Ffootnote</a:t>
            </a:r>
            <a:r>
              <a:rPr lang="en-GB" dirty="0"/>
              <a:t>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4082868169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,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851057" y="1335039"/>
            <a:ext cx="5036906" cy="40831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For final versions, presentation modus etc. please deactivate  orange frame by changing its </a:t>
            </a:r>
            <a:r>
              <a:rPr lang="en-US" noProof="0" dirty="0" err="1"/>
              <a:t>colour</a:t>
            </a:r>
            <a:r>
              <a:rPr lang="en-US" noProof="0" dirty="0"/>
              <a:t> to white in the slide master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 bwMode="gray">
          <a:xfrm>
            <a:off x="634119" y="1335063"/>
            <a:ext cx="5036907" cy="408233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889305" y="5893682"/>
            <a:ext cx="8732281" cy="113926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</a:t>
            </a:r>
            <a:r>
              <a:rPr lang="en-GB" dirty="0" err="1"/>
              <a:t>Ffootnote</a:t>
            </a:r>
            <a:r>
              <a:rPr lang="en-GB" dirty="0"/>
              <a:t>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2244831135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only with source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TUI Group | CTO  - Pieter Jordaan  | DOES Keynote|  2021</a:t>
            </a:r>
            <a:endParaRPr lang="de-DE" noProof="0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06934" y="5801811"/>
            <a:ext cx="8413200" cy="170506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162" indent="0">
              <a:buNone/>
              <a:defRPr sz="800"/>
            </a:lvl2pPr>
            <a:lvl3pPr marL="1147188" indent="0">
              <a:buNone/>
              <a:defRPr sz="800"/>
            </a:lvl3pPr>
            <a:lvl4pPr marL="1718403" indent="0">
              <a:buNone/>
              <a:defRPr sz="800"/>
            </a:lvl4pPr>
            <a:lvl5pPr marL="2289617" indent="0">
              <a:buNone/>
              <a:defRPr sz="800"/>
            </a:lvl5pPr>
          </a:lstStyle>
          <a:p>
            <a:pPr lvl="0"/>
            <a:r>
              <a:rPr lang="en-GB" dirty="0"/>
              <a:t>&lt; Source, Reference, Footnote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1051256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 bwMode="auto">
          <a:xfrm>
            <a:off x="251526" y="3627310"/>
            <a:ext cx="11018651" cy="2601083"/>
          </a:xfrm>
          <a:prstGeom prst="rect">
            <a:avLst/>
          </a:prstGeom>
          <a:gradFill flip="none" rotWithShape="1">
            <a:gsLst>
              <a:gs pos="0">
                <a:srgbClr val="00A8E7">
                  <a:alpha val="75000"/>
                </a:srgbClr>
              </a:gs>
              <a:gs pos="100000">
                <a:srgbClr val="70CBF4">
                  <a:alpha val="75000"/>
                </a:srgbClr>
              </a:gs>
            </a:gsLst>
            <a:lin ang="2400000" scaled="0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0133" y="5387533"/>
            <a:ext cx="1314145" cy="575718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 userDrawn="1">
            <p:ph type="title" hasCustomPrompt="1"/>
          </p:nvPr>
        </p:nvSpPr>
        <p:spPr>
          <a:xfrm>
            <a:off x="504829" y="4065353"/>
            <a:ext cx="10512425" cy="647683"/>
          </a:xfrm>
        </p:spPr>
        <p:txBody>
          <a:bodyPr anchor="t" anchorCtr="0"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 slide</a:t>
            </a:r>
            <a:endParaRPr lang="de-DE" noProof="0" dirty="0"/>
          </a:p>
        </p:txBody>
      </p:sp>
      <p:sp>
        <p:nvSpPr>
          <p:cNvPr id="6" name="Textplatzhalter 5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04830" y="4633874"/>
            <a:ext cx="10512425" cy="549477"/>
          </a:xfr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448149583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 bwMode="auto">
          <a:xfrm>
            <a:off x="251526" y="250457"/>
            <a:ext cx="11018651" cy="597794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Titel 2"/>
          <p:cNvSpPr>
            <a:spLocks noGrp="1"/>
          </p:cNvSpPr>
          <p:nvPr>
            <p:ph type="title" hasCustomPrompt="1"/>
          </p:nvPr>
        </p:nvSpPr>
        <p:spPr>
          <a:xfrm>
            <a:off x="504829" y="1021899"/>
            <a:ext cx="10512425" cy="612368"/>
          </a:xfrm>
        </p:spPr>
        <p:txBody>
          <a:bodyPr anchor="t" anchorCtr="0"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Divider slide</a:t>
            </a:r>
            <a:endParaRPr lang="de-DE" noProof="0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04830" y="1590424"/>
            <a:ext cx="10512425" cy="1262981"/>
          </a:xfr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504826" y="6002426"/>
            <a:ext cx="271236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>
              <a:buClrTx/>
              <a:buSzTx/>
              <a:buFontTx/>
              <a:buNone/>
              <a:defRPr sz="800"/>
            </a:lvl1pPr>
          </a:lstStyle>
          <a:p>
            <a:fld id="{BF68F70B-AC95-45BE-AEB8-15EAB33A653A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4410" y="5859036"/>
            <a:ext cx="338572" cy="270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764086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251905" y="5760572"/>
            <a:ext cx="11018266" cy="467823"/>
          </a:xfrm>
          <a:prstGeom prst="rect">
            <a:avLst/>
          </a:prstGeom>
          <a:gradFill flip="none" rotWithShape="1">
            <a:gsLst>
              <a:gs pos="0">
                <a:srgbClr val="00A8E7">
                  <a:alpha val="75000"/>
                </a:srgbClr>
              </a:gs>
              <a:gs pos="100000">
                <a:srgbClr val="70CBF4">
                  <a:alpha val="75000"/>
                </a:srgbClr>
              </a:gs>
            </a:gsLst>
            <a:lin ang="2400000" scaled="0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Titel 2"/>
          <p:cNvSpPr>
            <a:spLocks noGrp="1"/>
          </p:cNvSpPr>
          <p:nvPr>
            <p:ph type="title" hasCustomPrompt="1"/>
          </p:nvPr>
        </p:nvSpPr>
        <p:spPr>
          <a:xfrm>
            <a:off x="504829" y="1021899"/>
            <a:ext cx="10512425" cy="612368"/>
          </a:xfrm>
        </p:spPr>
        <p:txBody>
          <a:bodyPr anchor="t" anchorCtr="0"/>
          <a:lstStyle>
            <a:lvl1pPr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ivider slide</a:t>
            </a:r>
            <a:endParaRPr lang="de-DE" noProof="0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04830" y="1590424"/>
            <a:ext cx="10512425" cy="1262981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504826" y="6002426"/>
            <a:ext cx="271236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>
              <a:buClrTx/>
              <a:buSzTx/>
              <a:buFontTx/>
              <a:buNone/>
              <a:defRPr sz="800"/>
            </a:lvl1pPr>
          </a:lstStyle>
          <a:p>
            <a:fld id="{BF68F70B-AC95-45BE-AEB8-15EAB33A653A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4410" y="5859036"/>
            <a:ext cx="338572" cy="270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38938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auto">
          <a:xfrm>
            <a:off x="317417" y="5801139"/>
            <a:ext cx="10887242" cy="442265"/>
          </a:xfrm>
          <a:prstGeom prst="rect">
            <a:avLst/>
          </a:prstGeom>
          <a:gradFill flip="none" rotWithShape="1">
            <a:gsLst>
              <a:gs pos="0">
                <a:srgbClr val="00A8E7">
                  <a:alpha val="75000"/>
                </a:srgbClr>
              </a:gs>
              <a:gs pos="100000">
                <a:srgbClr val="70CBF4">
                  <a:alpha val="75000"/>
                </a:srgbClr>
              </a:gs>
            </a:gsLst>
            <a:lin ang="2400000" scaled="0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 marL="0" marR="0" lvl="0" indent="0" defTabSz="914400" latinLnBrk="0">
              <a:lnSpc>
                <a:spcPct val="80000"/>
              </a:lnSpc>
              <a:buClrTx/>
              <a:buSzTx/>
              <a:buNone/>
              <a:tabLst/>
            </a:pPr>
            <a:endParaRPr kumimoji="0" lang="de-DE" sz="1400" b="1" i="0" u="none" strike="noStrike" kern="0" cap="none" spc="0" normalizeH="0" baseline="0" dirty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"/>
            </a:endParaRPr>
          </a:p>
        </p:txBody>
      </p:sp>
      <p:sp>
        <p:nvSpPr>
          <p:cNvPr id="5" name="Titel 2"/>
          <p:cNvSpPr>
            <a:spLocks noGrp="1"/>
          </p:cNvSpPr>
          <p:nvPr>
            <p:ph type="title" hasCustomPrompt="1"/>
          </p:nvPr>
        </p:nvSpPr>
        <p:spPr>
          <a:xfrm>
            <a:off x="634118" y="966073"/>
            <a:ext cx="10253847" cy="612368"/>
          </a:xfrm>
        </p:spPr>
        <p:txBody>
          <a:bodyPr anchor="t" anchorCtr="0"/>
          <a:lstStyle>
            <a:lvl1pPr>
              <a:defRPr sz="4000" b="1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 </a:t>
            </a:r>
            <a:r>
              <a:rPr lang="de-DE" noProof="0" dirty="0" err="1"/>
              <a:t>slide</a:t>
            </a:r>
            <a:endParaRPr lang="en-GB" noProof="0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34118" y="1503537"/>
            <a:ext cx="10253847" cy="119398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TUI Group | CTO  - Pieter Jordaan  | DOES Keynote|  2021</a:t>
            </a:r>
            <a:endParaRPr lang="en-GB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635475" y="6029781"/>
            <a:ext cx="271236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>
              <a:buClrTx/>
              <a:buSzTx/>
              <a:buFontTx/>
              <a:buNone/>
              <a:defRPr sz="800"/>
            </a:lvl1pPr>
          </a:lstStyle>
          <a:p>
            <a:pPr lvl="0"/>
            <a:fld id="{BF68F70B-AC95-45BE-AEB8-15EAB33A653A}" type="slidenum">
              <a:rPr lang="en-GB" noProof="0" smtClean="0">
                <a:solidFill>
                  <a:schemeClr val="bg1"/>
                </a:solidFill>
              </a:rPr>
              <a:pPr lvl="0"/>
              <a:t>‹#›</a:t>
            </a:fld>
            <a:endParaRPr lang="en-GB" noProof="0" dirty="0">
              <a:solidFill>
                <a:schemeClr val="bg1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0368" y="5894220"/>
            <a:ext cx="426624" cy="256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707734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 with source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06936" y="5801810"/>
            <a:ext cx="8413200" cy="17050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Footnote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2248768336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06936" y="5801810"/>
            <a:ext cx="8413200" cy="17050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Footnote etc. (Click to activate) &gt;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5"/>
          </p:nvPr>
        </p:nvSpPr>
        <p:spPr>
          <a:xfrm>
            <a:off x="503243" y="1404250"/>
            <a:ext cx="10514011" cy="39563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7394473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04830" y="1404255"/>
            <a:ext cx="10512425" cy="3958872"/>
          </a:xfrm>
          <a:prstGeom prst="rect">
            <a:avLst/>
          </a:prstGeom>
        </p:spPr>
        <p:txBody>
          <a:bodyPr/>
          <a:lstStyle>
            <a:lvl1pPr marL="266700" indent="-266700">
              <a:defRPr/>
            </a:lvl1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06936" y="5801810"/>
            <a:ext cx="8413200" cy="17050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Footnote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365698075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 Headline and 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04828" y="1404255"/>
            <a:ext cx="5148263" cy="39588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868988" y="1404255"/>
            <a:ext cx="5148262" cy="39588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06936" y="5801810"/>
            <a:ext cx="8413200" cy="17050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Footnote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3100116835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,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868988" y="1404255"/>
            <a:ext cx="5148262" cy="3958872"/>
          </a:xfrm>
          <a:prstGeom prst="rect">
            <a:avLst/>
          </a:prstGeom>
        </p:spPr>
        <p:txBody>
          <a:bodyPr/>
          <a:lstStyle>
            <a:lvl1pPr>
              <a:spcBef>
                <a:spcPts val="500"/>
              </a:spcBef>
              <a:defRPr/>
            </a:lvl1pPr>
            <a:lvl2pPr>
              <a:spcBef>
                <a:spcPts val="500"/>
              </a:spcBef>
              <a:defRPr/>
            </a:lvl2pPr>
            <a:lvl3pPr>
              <a:spcBef>
                <a:spcPts val="500"/>
              </a:spcBef>
              <a:defRPr/>
            </a:lvl3pPr>
            <a:lvl4pPr>
              <a:spcBef>
                <a:spcPts val="500"/>
              </a:spcBef>
              <a:defRPr/>
            </a:lvl4pPr>
            <a:lvl5pPr>
              <a:spcBef>
                <a:spcPts val="500"/>
              </a:spcBef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 bwMode="gray">
          <a:xfrm>
            <a:off x="504828" y="1404255"/>
            <a:ext cx="5148263" cy="39588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icon to add picture</a:t>
            </a:r>
            <a:endParaRPr lang="de-DE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06936" y="5801810"/>
            <a:ext cx="8413200" cy="17050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Footnote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2987282208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 bwMode="auto">
          <a:xfrm>
            <a:off x="251522" y="3627310"/>
            <a:ext cx="11018651" cy="2601083"/>
          </a:xfrm>
          <a:prstGeom prst="rect">
            <a:avLst/>
          </a:prstGeom>
          <a:gradFill flip="none" rotWithShape="1">
            <a:gsLst>
              <a:gs pos="0">
                <a:srgbClr val="00A8E7">
                  <a:alpha val="75000"/>
                </a:srgbClr>
              </a:gs>
              <a:gs pos="100000">
                <a:srgbClr val="70CBF4">
                  <a:alpha val="75000"/>
                </a:srgbClr>
              </a:gs>
            </a:gsLst>
            <a:lin ang="2400000" scaled="0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0129" y="5387533"/>
            <a:ext cx="1314145" cy="575718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 userDrawn="1">
            <p:ph type="title" hasCustomPrompt="1"/>
          </p:nvPr>
        </p:nvSpPr>
        <p:spPr>
          <a:xfrm>
            <a:off x="504825" y="4065353"/>
            <a:ext cx="10512425" cy="647683"/>
          </a:xfrm>
        </p:spPr>
        <p:txBody>
          <a:bodyPr anchor="t" anchorCtr="0"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 slide</a:t>
            </a:r>
            <a:endParaRPr lang="de-DE" noProof="0" dirty="0"/>
          </a:p>
        </p:txBody>
      </p:sp>
      <p:sp>
        <p:nvSpPr>
          <p:cNvPr id="6" name="Textplatzhalter 5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04826" y="4633874"/>
            <a:ext cx="10512425" cy="549477"/>
          </a:xfr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827848318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 bwMode="auto">
          <a:xfrm>
            <a:off x="251522" y="250454"/>
            <a:ext cx="11018651" cy="597794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Titel 2"/>
          <p:cNvSpPr>
            <a:spLocks noGrp="1"/>
          </p:cNvSpPr>
          <p:nvPr>
            <p:ph type="title" hasCustomPrompt="1"/>
          </p:nvPr>
        </p:nvSpPr>
        <p:spPr>
          <a:xfrm>
            <a:off x="504825" y="1021899"/>
            <a:ext cx="10512425" cy="612368"/>
          </a:xfrm>
        </p:spPr>
        <p:txBody>
          <a:bodyPr anchor="t" anchorCtr="0"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Divider slide</a:t>
            </a:r>
            <a:endParaRPr lang="de-DE" noProof="0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04826" y="1590421"/>
            <a:ext cx="10512425" cy="1262981"/>
          </a:xfr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504826" y="6002426"/>
            <a:ext cx="271236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>
              <a:buClrTx/>
              <a:buSzTx/>
              <a:buFontTx/>
              <a:buNone/>
              <a:defRPr sz="800"/>
            </a:lvl1pPr>
          </a:lstStyle>
          <a:p>
            <a:fld id="{BF68F70B-AC95-45BE-AEB8-15EAB33A653A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4410" y="5859032"/>
            <a:ext cx="338572" cy="270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0682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251905" y="5760572"/>
            <a:ext cx="11018266" cy="467823"/>
          </a:xfrm>
          <a:prstGeom prst="rect">
            <a:avLst/>
          </a:prstGeom>
          <a:gradFill flip="none" rotWithShape="1">
            <a:gsLst>
              <a:gs pos="0">
                <a:srgbClr val="00A8E7">
                  <a:alpha val="75000"/>
                </a:srgbClr>
              </a:gs>
              <a:gs pos="100000">
                <a:srgbClr val="70CBF4">
                  <a:alpha val="75000"/>
                </a:srgbClr>
              </a:gs>
            </a:gsLst>
            <a:lin ang="2400000" scaled="0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Titel 2"/>
          <p:cNvSpPr>
            <a:spLocks noGrp="1"/>
          </p:cNvSpPr>
          <p:nvPr>
            <p:ph type="title" hasCustomPrompt="1"/>
          </p:nvPr>
        </p:nvSpPr>
        <p:spPr>
          <a:xfrm>
            <a:off x="504825" y="1021899"/>
            <a:ext cx="10512425" cy="612368"/>
          </a:xfrm>
        </p:spPr>
        <p:txBody>
          <a:bodyPr anchor="t" anchorCtr="0"/>
          <a:lstStyle>
            <a:lvl1pPr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ivider slide</a:t>
            </a:r>
            <a:endParaRPr lang="de-DE" noProof="0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04826" y="1590421"/>
            <a:ext cx="10512425" cy="1262981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504826" y="6002426"/>
            <a:ext cx="271236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>
              <a:buClrTx/>
              <a:buSzTx/>
              <a:buFontTx/>
              <a:buNone/>
              <a:defRPr sz="800"/>
            </a:lvl1pPr>
          </a:lstStyle>
          <a:p>
            <a:fld id="{BF68F70B-AC95-45BE-AEB8-15EAB33A653A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4410" y="5859032"/>
            <a:ext cx="338572" cy="270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489889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 with source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06935" y="5801810"/>
            <a:ext cx="8413200" cy="17050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Footnote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2314023962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06935" y="5801810"/>
            <a:ext cx="8413200" cy="17050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Footnote etc. (Click to activate) &gt;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5"/>
          </p:nvPr>
        </p:nvSpPr>
        <p:spPr>
          <a:xfrm>
            <a:off x="503239" y="1404250"/>
            <a:ext cx="10514011" cy="395639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6103589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 with source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TUI Group | CTO  - Pieter Jordaan  | DOES Keynote|  2021</a:t>
            </a:r>
            <a:endParaRPr lang="en-GB" noProof="0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889305" y="5893682"/>
            <a:ext cx="8732281" cy="113926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</a:t>
            </a:r>
            <a:r>
              <a:rPr lang="en-GB" dirty="0" err="1"/>
              <a:t>Ffootnote</a:t>
            </a:r>
            <a:r>
              <a:rPr lang="en-GB" dirty="0"/>
              <a:t>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1617857667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04826" y="1404252"/>
            <a:ext cx="10512425" cy="3958872"/>
          </a:xfrm>
          <a:prstGeom prst="rect">
            <a:avLst/>
          </a:prstGeom>
        </p:spPr>
        <p:txBody>
          <a:bodyPr/>
          <a:lstStyle>
            <a:lvl1pPr marL="266700" indent="-266700">
              <a:defRPr/>
            </a:lvl1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06935" y="5801810"/>
            <a:ext cx="8413200" cy="17050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Footnote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2399237545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 Headline and 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04826" y="1404252"/>
            <a:ext cx="5148263" cy="39588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868988" y="1404252"/>
            <a:ext cx="5148262" cy="39588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06935" y="5801810"/>
            <a:ext cx="8413200" cy="17050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Footnote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1923502459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,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868988" y="1404252"/>
            <a:ext cx="5148262" cy="3958872"/>
          </a:xfrm>
          <a:prstGeom prst="rect">
            <a:avLst/>
          </a:prstGeom>
        </p:spPr>
        <p:txBody>
          <a:bodyPr/>
          <a:lstStyle>
            <a:lvl1pPr>
              <a:spcBef>
                <a:spcPts val="500"/>
              </a:spcBef>
              <a:defRPr/>
            </a:lvl1pPr>
            <a:lvl2pPr>
              <a:spcBef>
                <a:spcPts val="500"/>
              </a:spcBef>
              <a:defRPr/>
            </a:lvl2pPr>
            <a:lvl3pPr>
              <a:spcBef>
                <a:spcPts val="500"/>
              </a:spcBef>
              <a:defRPr/>
            </a:lvl3pPr>
            <a:lvl4pPr>
              <a:spcBef>
                <a:spcPts val="500"/>
              </a:spcBef>
              <a:defRPr/>
            </a:lvl4pPr>
            <a:lvl5pPr>
              <a:spcBef>
                <a:spcPts val="500"/>
              </a:spcBef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 bwMode="gray">
          <a:xfrm>
            <a:off x="504826" y="1404252"/>
            <a:ext cx="5148263" cy="39588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06935" y="5801810"/>
            <a:ext cx="8413200" cy="17050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Footnote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2207643681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auto">
          <a:xfrm>
            <a:off x="316933" y="3784416"/>
            <a:ext cx="10893086" cy="2458987"/>
          </a:xfrm>
          <a:prstGeom prst="rect">
            <a:avLst/>
          </a:prstGeom>
          <a:gradFill flip="none" rotWithShape="1">
            <a:gsLst>
              <a:gs pos="0">
                <a:srgbClr val="00A8E7">
                  <a:alpha val="75000"/>
                </a:srgbClr>
              </a:gs>
              <a:gs pos="100000">
                <a:srgbClr val="70CBF4">
                  <a:alpha val="75000"/>
                </a:srgbClr>
              </a:gs>
            </a:gsLst>
            <a:lin ang="2400000" scaled="0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sp>
        <p:nvSpPr>
          <p:cNvPr id="3" name="Titel 2"/>
          <p:cNvSpPr>
            <a:spLocks noGrp="1"/>
          </p:cNvSpPr>
          <p:nvPr userDrawn="1">
            <p:ph type="title" hasCustomPrompt="1"/>
          </p:nvPr>
        </p:nvSpPr>
        <p:spPr>
          <a:xfrm>
            <a:off x="634115" y="4198529"/>
            <a:ext cx="10253847" cy="612368"/>
          </a:xfrm>
        </p:spPr>
        <p:txBody>
          <a:bodyPr anchor="t" anchorCtr="0"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 slide</a:t>
            </a:r>
          </a:p>
        </p:txBody>
      </p:sp>
      <p:sp>
        <p:nvSpPr>
          <p:cNvPr id="6" name="Textplatzhalter 5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34115" y="4734008"/>
            <a:ext cx="10253847" cy="479266"/>
          </a:xfr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Subtitle</a:t>
            </a:r>
          </a:p>
          <a:p>
            <a:pPr lvl="0"/>
            <a:endParaRPr lang="en-GB" noProof="0" dirty="0"/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1656" y="5448477"/>
            <a:ext cx="1655914" cy="544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23506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auto">
          <a:xfrm>
            <a:off x="316933" y="236772"/>
            <a:ext cx="10893086" cy="6006631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sp>
        <p:nvSpPr>
          <p:cNvPr id="5" name="Titel 2"/>
          <p:cNvSpPr>
            <a:spLocks noGrp="1"/>
          </p:cNvSpPr>
          <p:nvPr>
            <p:ph type="title" hasCustomPrompt="1"/>
          </p:nvPr>
        </p:nvSpPr>
        <p:spPr>
          <a:xfrm>
            <a:off x="634115" y="966073"/>
            <a:ext cx="10253847" cy="612368"/>
          </a:xfrm>
        </p:spPr>
        <p:txBody>
          <a:bodyPr anchor="t" anchorCtr="0"/>
          <a:lstStyle>
            <a:lvl1pPr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 </a:t>
            </a:r>
            <a:r>
              <a:rPr lang="de-DE" noProof="0" dirty="0" err="1"/>
              <a:t>slide</a:t>
            </a:r>
            <a:endParaRPr lang="en-GB" noProof="0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34115" y="1503537"/>
            <a:ext cx="10253847" cy="1193985"/>
          </a:xfr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feld 11"/>
          <p:cNvSpPr txBox="1"/>
          <p:nvPr userDrawn="1"/>
        </p:nvSpPr>
        <p:spPr>
          <a:xfrm>
            <a:off x="635475" y="6029779"/>
            <a:ext cx="271236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>
              <a:buClrTx/>
              <a:buSzTx/>
              <a:buFontTx/>
              <a:buNone/>
              <a:defRPr sz="800"/>
            </a:lvl1pPr>
          </a:lstStyle>
          <a:p>
            <a:fld id="{BF68F70B-AC95-45BE-AEB8-15EAB33A653A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0368" y="5894218"/>
            <a:ext cx="426624" cy="256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426751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auto">
          <a:xfrm>
            <a:off x="317417" y="5801137"/>
            <a:ext cx="10887242" cy="442266"/>
          </a:xfrm>
          <a:prstGeom prst="rect">
            <a:avLst/>
          </a:prstGeom>
          <a:gradFill flip="none" rotWithShape="1">
            <a:gsLst>
              <a:gs pos="0">
                <a:srgbClr val="00A8E7">
                  <a:alpha val="75000"/>
                </a:srgbClr>
              </a:gs>
              <a:gs pos="100000">
                <a:srgbClr val="70CBF4">
                  <a:alpha val="75000"/>
                </a:srgbClr>
              </a:gs>
            </a:gsLst>
            <a:lin ang="2400000" scaled="0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sp>
        <p:nvSpPr>
          <p:cNvPr id="5" name="Titel 2"/>
          <p:cNvSpPr>
            <a:spLocks noGrp="1"/>
          </p:cNvSpPr>
          <p:nvPr>
            <p:ph type="title" hasCustomPrompt="1"/>
          </p:nvPr>
        </p:nvSpPr>
        <p:spPr>
          <a:xfrm>
            <a:off x="634115" y="966073"/>
            <a:ext cx="10253847" cy="612368"/>
          </a:xfrm>
        </p:spPr>
        <p:txBody>
          <a:bodyPr anchor="t" anchorCtr="0"/>
          <a:lstStyle>
            <a:lvl1pPr>
              <a:defRPr sz="4000" b="1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 </a:t>
            </a:r>
            <a:r>
              <a:rPr lang="de-DE" noProof="0" dirty="0" err="1"/>
              <a:t>slide</a:t>
            </a:r>
            <a:endParaRPr lang="en-GB" noProof="0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34115" y="1503537"/>
            <a:ext cx="10253847" cy="119398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Textfeld 11"/>
          <p:cNvSpPr txBox="1"/>
          <p:nvPr userDrawn="1"/>
        </p:nvSpPr>
        <p:spPr>
          <a:xfrm>
            <a:off x="635475" y="6029779"/>
            <a:ext cx="271236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>
              <a:buClrTx/>
              <a:buSzTx/>
              <a:buFontTx/>
              <a:buNone/>
              <a:defRPr sz="800"/>
            </a:lvl1pPr>
          </a:lstStyle>
          <a:p>
            <a:fld id="{BF68F70B-AC95-45BE-AEB8-15EAB33A653A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0368" y="5894218"/>
            <a:ext cx="426624" cy="256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500305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 with source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889305" y="5893682"/>
            <a:ext cx="8732281" cy="113926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</a:t>
            </a:r>
            <a:r>
              <a:rPr lang="en-GB" dirty="0" err="1"/>
              <a:t>Ffootnote</a:t>
            </a:r>
            <a:r>
              <a:rPr lang="en-GB" dirty="0"/>
              <a:t>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2732215652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1"/>
          <p:cNvSpPr>
            <a:spLocks noGrp="1"/>
          </p:cNvSpPr>
          <p:nvPr>
            <p:ph sz="quarter" idx="12"/>
          </p:nvPr>
        </p:nvSpPr>
        <p:spPr>
          <a:xfrm>
            <a:off x="634117" y="1335036"/>
            <a:ext cx="10253844" cy="4083111"/>
          </a:xfrm>
        </p:spPr>
        <p:txBody>
          <a:bodyPr/>
          <a:lstStyle>
            <a:lvl1pPr>
              <a:defRPr baseline="0">
                <a:ln>
                  <a:noFill/>
                </a:ln>
                <a:solidFill>
                  <a:schemeClr val="tx1"/>
                </a:solidFill>
              </a:defRPr>
            </a:lvl1pPr>
            <a:lvl2pPr marL="179388" indent="0">
              <a:buNone/>
              <a:defRPr/>
            </a:lvl2pPr>
            <a:lvl3pPr marL="357188" indent="0">
              <a:buNone/>
              <a:defRPr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889305" y="5893682"/>
            <a:ext cx="8732281" cy="113926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</a:t>
            </a:r>
            <a:r>
              <a:rPr lang="en-GB" dirty="0" err="1"/>
              <a:t>Ffootnote</a:t>
            </a:r>
            <a:r>
              <a:rPr lang="en-GB" dirty="0"/>
              <a:t> etc. (Click to activate) &gt;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3569274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35076" y="1335037"/>
            <a:ext cx="10252886" cy="4083110"/>
          </a:xfrm>
          <a:prstGeom prst="rect">
            <a:avLst/>
          </a:prstGeom>
        </p:spPr>
        <p:txBody>
          <a:bodyPr/>
          <a:lstStyle>
            <a:lvl1pPr marL="177800" indent="-177800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889305" y="5893682"/>
            <a:ext cx="8732281" cy="113926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</a:t>
            </a:r>
            <a:r>
              <a:rPr lang="en-GB" dirty="0" err="1"/>
              <a:t>Ffootnote</a:t>
            </a:r>
            <a:r>
              <a:rPr lang="en-GB" dirty="0"/>
              <a:t>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1951568685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 Headline and 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34116" y="1335037"/>
            <a:ext cx="5036906" cy="40831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For final </a:t>
            </a:r>
            <a:r>
              <a:rPr lang="en-GB" noProof="0" dirty="0"/>
              <a:t>versions</a:t>
            </a:r>
            <a:r>
              <a:rPr lang="en-US" noProof="0" dirty="0"/>
              <a:t>, presentation modus etc. please </a:t>
            </a:r>
            <a:r>
              <a:rPr lang="en-GB" noProof="0" dirty="0"/>
              <a:t>deactivate</a:t>
            </a:r>
            <a:r>
              <a:rPr lang="en-US" noProof="0" dirty="0"/>
              <a:t>  orange frame by changing its colour to white in the slide master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851056" y="1335037"/>
            <a:ext cx="5036906" cy="40831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889305" y="5893682"/>
            <a:ext cx="8732281" cy="113926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</a:t>
            </a:r>
            <a:r>
              <a:rPr lang="en-GB" dirty="0" err="1"/>
              <a:t>Ffootnote</a:t>
            </a:r>
            <a:r>
              <a:rPr lang="en-GB" dirty="0"/>
              <a:t>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1747630768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1"/>
          <p:cNvSpPr>
            <a:spLocks noGrp="1"/>
          </p:cNvSpPr>
          <p:nvPr>
            <p:ph sz="quarter" idx="12"/>
          </p:nvPr>
        </p:nvSpPr>
        <p:spPr>
          <a:xfrm>
            <a:off x="634118" y="1335036"/>
            <a:ext cx="10253844" cy="4083111"/>
          </a:xfrm>
        </p:spPr>
        <p:txBody>
          <a:bodyPr/>
          <a:lstStyle>
            <a:lvl1pPr>
              <a:defRPr baseline="0">
                <a:ln>
                  <a:noFill/>
                </a:ln>
                <a:solidFill>
                  <a:schemeClr val="tx1"/>
                </a:solidFill>
              </a:defRPr>
            </a:lvl1pPr>
            <a:lvl2pPr marL="179388" indent="0">
              <a:buNone/>
              <a:defRPr/>
            </a:lvl2pPr>
            <a:lvl3pPr marL="357188" indent="0">
              <a:buNone/>
              <a:defRPr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889305" y="5893682"/>
            <a:ext cx="8732281" cy="113926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</a:t>
            </a:r>
            <a:r>
              <a:rPr lang="en-GB" dirty="0" err="1"/>
              <a:t>Ffootnote</a:t>
            </a:r>
            <a:r>
              <a:rPr lang="en-GB" dirty="0"/>
              <a:t> etc. (Click to activate) &gt;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TUI Group | CTO  - Pieter Jordaan  | DOES Keynote| 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4369996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,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851057" y="1335037"/>
            <a:ext cx="5036906" cy="40831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For final versions, presentation modus etc. please deactivate  orange frame by changing its </a:t>
            </a:r>
            <a:r>
              <a:rPr lang="en-US" noProof="0" dirty="0" err="1"/>
              <a:t>colour</a:t>
            </a:r>
            <a:r>
              <a:rPr lang="en-US" noProof="0" dirty="0"/>
              <a:t> to white in the slide master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 bwMode="gray">
          <a:xfrm>
            <a:off x="634117" y="1335062"/>
            <a:ext cx="5036907" cy="408233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889305" y="5893682"/>
            <a:ext cx="8732281" cy="113926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</a:t>
            </a:r>
            <a:r>
              <a:rPr lang="en-GB" dirty="0" err="1"/>
              <a:t>Ffootnote</a:t>
            </a:r>
            <a:r>
              <a:rPr lang="en-GB" dirty="0"/>
              <a:t>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22903394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 bwMode="auto">
          <a:xfrm>
            <a:off x="251522" y="3627310"/>
            <a:ext cx="11018651" cy="2601083"/>
          </a:xfrm>
          <a:prstGeom prst="rect">
            <a:avLst/>
          </a:prstGeom>
          <a:solidFill>
            <a:srgbClr val="00B0F0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5633" y="5387533"/>
            <a:ext cx="1303134" cy="575718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 userDrawn="1">
            <p:ph type="title" hasCustomPrompt="1"/>
          </p:nvPr>
        </p:nvSpPr>
        <p:spPr>
          <a:xfrm>
            <a:off x="504825" y="4065353"/>
            <a:ext cx="10512425" cy="647683"/>
          </a:xfrm>
        </p:spPr>
        <p:txBody>
          <a:bodyPr anchor="t" anchorCtr="0"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 slide</a:t>
            </a:r>
            <a:endParaRPr lang="de-DE" noProof="0" dirty="0"/>
          </a:p>
        </p:txBody>
      </p:sp>
      <p:sp>
        <p:nvSpPr>
          <p:cNvPr id="6" name="Textplatzhalter 5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04826" y="4633874"/>
            <a:ext cx="10512425" cy="549477"/>
          </a:xfr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032634865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 bwMode="auto">
          <a:xfrm>
            <a:off x="251522" y="250454"/>
            <a:ext cx="11018651" cy="597794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Titel 2"/>
          <p:cNvSpPr>
            <a:spLocks noGrp="1"/>
          </p:cNvSpPr>
          <p:nvPr>
            <p:ph type="title" hasCustomPrompt="1"/>
          </p:nvPr>
        </p:nvSpPr>
        <p:spPr>
          <a:xfrm>
            <a:off x="504825" y="1021899"/>
            <a:ext cx="10512425" cy="612368"/>
          </a:xfrm>
        </p:spPr>
        <p:txBody>
          <a:bodyPr anchor="t" anchorCtr="0"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Divider slide</a:t>
            </a:r>
            <a:endParaRPr lang="de-DE" noProof="0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04826" y="1590421"/>
            <a:ext cx="10512425" cy="1262981"/>
          </a:xfr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504826" y="6002426"/>
            <a:ext cx="271236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>
              <a:buClrTx/>
              <a:buSzTx/>
              <a:buFontTx/>
              <a:buNone/>
              <a:defRPr sz="800"/>
            </a:lvl1pPr>
          </a:lstStyle>
          <a:p>
            <a:fld id="{BF68F70B-AC95-45BE-AEB8-15EAB33A653A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4410" y="5859122"/>
            <a:ext cx="338572" cy="270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4971362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251905" y="5760572"/>
            <a:ext cx="11018266" cy="467823"/>
          </a:xfrm>
          <a:prstGeom prst="rect">
            <a:avLst/>
          </a:prstGeom>
          <a:gradFill flip="none" rotWithShape="1">
            <a:gsLst>
              <a:gs pos="0">
                <a:srgbClr val="00A8E7">
                  <a:alpha val="75000"/>
                </a:srgbClr>
              </a:gs>
              <a:gs pos="100000">
                <a:srgbClr val="70CBF4">
                  <a:alpha val="75000"/>
                </a:srgbClr>
              </a:gs>
            </a:gsLst>
            <a:lin ang="2400000" scaled="0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Titel 2"/>
          <p:cNvSpPr>
            <a:spLocks noGrp="1"/>
          </p:cNvSpPr>
          <p:nvPr>
            <p:ph type="title" hasCustomPrompt="1"/>
          </p:nvPr>
        </p:nvSpPr>
        <p:spPr>
          <a:xfrm>
            <a:off x="504825" y="1021899"/>
            <a:ext cx="10512425" cy="612368"/>
          </a:xfrm>
        </p:spPr>
        <p:txBody>
          <a:bodyPr anchor="t" anchorCtr="0"/>
          <a:lstStyle>
            <a:lvl1pPr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ivider slide</a:t>
            </a:r>
            <a:endParaRPr lang="de-DE" noProof="0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04826" y="1590421"/>
            <a:ext cx="10512425" cy="1262981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504826" y="6002426"/>
            <a:ext cx="271236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>
              <a:buClrTx/>
              <a:buSzTx/>
              <a:buFontTx/>
              <a:buNone/>
              <a:defRPr sz="800"/>
            </a:lvl1pPr>
          </a:lstStyle>
          <a:p>
            <a:fld id="{BF68F70B-AC95-45BE-AEB8-15EAB33A653A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4410" y="5859122"/>
            <a:ext cx="338572" cy="270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465094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 with source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06935" y="5801810"/>
            <a:ext cx="8413200" cy="17050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Footnote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3369401184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06935" y="5801810"/>
            <a:ext cx="8413200" cy="17050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Footnote etc. (Click to activate) &gt;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5"/>
          </p:nvPr>
        </p:nvSpPr>
        <p:spPr>
          <a:xfrm>
            <a:off x="503239" y="1404250"/>
            <a:ext cx="10514011" cy="39563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0461100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04826" y="1404252"/>
            <a:ext cx="10512425" cy="3958872"/>
          </a:xfrm>
          <a:prstGeom prst="rect">
            <a:avLst/>
          </a:prstGeom>
        </p:spPr>
        <p:txBody>
          <a:bodyPr/>
          <a:lstStyle>
            <a:lvl1pPr marL="266700" indent="-266700">
              <a:defRPr/>
            </a:lvl1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06935" y="5801810"/>
            <a:ext cx="8413200" cy="17050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Footnote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1352985121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 Headline and 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04826" y="1404252"/>
            <a:ext cx="5148263" cy="39588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868988" y="1404252"/>
            <a:ext cx="5148262" cy="39588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06935" y="5801810"/>
            <a:ext cx="8413200" cy="17050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Footnote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1771483640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,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868988" y="1404252"/>
            <a:ext cx="5148262" cy="3958872"/>
          </a:xfrm>
          <a:prstGeom prst="rect">
            <a:avLst/>
          </a:prstGeom>
        </p:spPr>
        <p:txBody>
          <a:bodyPr/>
          <a:lstStyle>
            <a:lvl1pPr>
              <a:spcBef>
                <a:spcPts val="500"/>
              </a:spcBef>
              <a:defRPr/>
            </a:lvl1pPr>
            <a:lvl2pPr>
              <a:spcBef>
                <a:spcPts val="500"/>
              </a:spcBef>
              <a:defRPr/>
            </a:lvl2pPr>
            <a:lvl3pPr>
              <a:spcBef>
                <a:spcPts val="500"/>
              </a:spcBef>
              <a:defRPr/>
            </a:lvl3pPr>
            <a:lvl4pPr>
              <a:spcBef>
                <a:spcPts val="500"/>
              </a:spcBef>
              <a:defRPr/>
            </a:lvl4pPr>
            <a:lvl5pPr>
              <a:spcBef>
                <a:spcPts val="500"/>
              </a:spcBef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 bwMode="gray">
          <a:xfrm>
            <a:off x="504826" y="1404252"/>
            <a:ext cx="5148263" cy="39588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DE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06935" y="5801810"/>
            <a:ext cx="8413200" cy="170507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Footnote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3035496829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35077" y="1335039"/>
            <a:ext cx="10252886" cy="4083110"/>
          </a:xfrm>
          <a:prstGeom prst="rect">
            <a:avLst/>
          </a:prstGeom>
        </p:spPr>
        <p:txBody>
          <a:bodyPr/>
          <a:lstStyle>
            <a:lvl1pPr marL="177800" indent="-177800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TUI Group | CTO  - Pieter Jordaan  | DOES Keynote|  2021</a:t>
            </a:r>
            <a:endParaRPr lang="en-GB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889305" y="5893682"/>
            <a:ext cx="8732281" cy="113926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</a:t>
            </a:r>
            <a:r>
              <a:rPr lang="en-GB" dirty="0" err="1"/>
              <a:t>Ffootnote</a:t>
            </a:r>
            <a:r>
              <a:rPr lang="en-GB" dirty="0"/>
              <a:t>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1165462993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 Headline and 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34116" y="1335039"/>
            <a:ext cx="5036906" cy="40831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For final </a:t>
            </a:r>
            <a:r>
              <a:rPr lang="en-GB" noProof="0" dirty="0"/>
              <a:t>versions</a:t>
            </a:r>
            <a:r>
              <a:rPr lang="en-US" noProof="0" dirty="0"/>
              <a:t>, presentation modus etc. please </a:t>
            </a:r>
            <a:r>
              <a:rPr lang="en-GB" noProof="0" dirty="0"/>
              <a:t>deactivate</a:t>
            </a:r>
            <a:r>
              <a:rPr lang="en-US" noProof="0" dirty="0"/>
              <a:t>  orange frame by changing its colour to white in the slide master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851056" y="1335039"/>
            <a:ext cx="5036906" cy="40831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TUI Group | CTO  - Pieter Jordaan  | DOES Keynote|  2021</a:t>
            </a:r>
            <a:endParaRPr lang="en-GB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889305" y="5893682"/>
            <a:ext cx="8732281" cy="113926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</a:t>
            </a:r>
            <a:r>
              <a:rPr lang="en-GB" dirty="0" err="1"/>
              <a:t>Ffootnote</a:t>
            </a:r>
            <a:r>
              <a:rPr lang="en-GB" dirty="0"/>
              <a:t>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3363397960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,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851057" y="1335039"/>
            <a:ext cx="5036906" cy="40831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For final versions, presentation modus etc. please deactivate  orange frame by changing its </a:t>
            </a:r>
            <a:r>
              <a:rPr lang="en-US" noProof="0" dirty="0" err="1"/>
              <a:t>colour</a:t>
            </a:r>
            <a:r>
              <a:rPr lang="en-US" noProof="0" dirty="0"/>
              <a:t> to white in the slide master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 bwMode="gray">
          <a:xfrm>
            <a:off x="634119" y="1335063"/>
            <a:ext cx="5036907" cy="408233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TUI Group | CTO  - Pieter Jordaan  | DOES Keynote|  2021</a:t>
            </a:r>
            <a:endParaRPr lang="en-GB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889305" y="5893682"/>
            <a:ext cx="8732281" cy="113926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625475" indent="0">
              <a:buNone/>
              <a:defRPr sz="800"/>
            </a:lvl2pPr>
            <a:lvl3pPr marL="1147762" indent="0">
              <a:buNone/>
              <a:defRPr sz="800"/>
            </a:lvl3pPr>
            <a:lvl4pPr marL="1719263" indent="0">
              <a:buNone/>
              <a:defRPr sz="800"/>
            </a:lvl4pPr>
            <a:lvl5pPr marL="2290762" indent="0">
              <a:buNone/>
              <a:defRPr sz="800"/>
            </a:lvl5pPr>
          </a:lstStyle>
          <a:p>
            <a:pPr lvl="0"/>
            <a:r>
              <a:rPr lang="en-GB" dirty="0"/>
              <a:t>&lt; Source, Reference, </a:t>
            </a:r>
            <a:r>
              <a:rPr lang="en-GB" dirty="0" err="1"/>
              <a:t>Ffootnote</a:t>
            </a:r>
            <a:r>
              <a:rPr lang="en-GB" dirty="0"/>
              <a:t>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252394705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 bwMode="auto">
          <a:xfrm>
            <a:off x="251526" y="3627310"/>
            <a:ext cx="11018651" cy="2601083"/>
          </a:xfrm>
          <a:prstGeom prst="rect">
            <a:avLst/>
          </a:prstGeom>
          <a:gradFill flip="none" rotWithShape="1">
            <a:gsLst>
              <a:gs pos="0">
                <a:srgbClr val="00A8E7">
                  <a:alpha val="75000"/>
                </a:srgbClr>
              </a:gs>
              <a:gs pos="100000">
                <a:srgbClr val="70CBF4">
                  <a:alpha val="75000"/>
                </a:srgbClr>
              </a:gs>
            </a:gsLst>
            <a:lin ang="2400000" scaled="0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0133" y="5387533"/>
            <a:ext cx="1314145" cy="575718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 userDrawn="1">
            <p:ph type="title" hasCustomPrompt="1"/>
          </p:nvPr>
        </p:nvSpPr>
        <p:spPr>
          <a:xfrm>
            <a:off x="504829" y="4065353"/>
            <a:ext cx="10512425" cy="647683"/>
          </a:xfrm>
        </p:spPr>
        <p:txBody>
          <a:bodyPr anchor="t" anchorCtr="0"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itle slide</a:t>
            </a:r>
            <a:endParaRPr lang="de-DE" noProof="0" dirty="0"/>
          </a:p>
        </p:txBody>
      </p:sp>
      <p:sp>
        <p:nvSpPr>
          <p:cNvPr id="6" name="Textplatzhalter 5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04830" y="4633874"/>
            <a:ext cx="10512425" cy="549477"/>
          </a:xfr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6784621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3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22.xml"/><Relationship Id="rId15" Type="http://schemas.openxmlformats.org/officeDocument/2006/relationships/image" Target="../media/image2.emf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30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38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47.xml"/><Relationship Id="rId10" Type="http://schemas.openxmlformats.org/officeDocument/2006/relationships/vmlDrawing" Target="../drawings/vmlDrawing3.vml"/><Relationship Id="rId4" Type="http://schemas.openxmlformats.org/officeDocument/2006/relationships/slideLayout" Target="../slideLayouts/slideLayout46.xml"/><Relationship Id="rId9" Type="http://schemas.openxmlformats.org/officeDocument/2006/relationships/theme" Target="../theme/theme6.xml"/><Relationship Id="rId14" Type="http://schemas.openxmlformats.org/officeDocument/2006/relationships/image" Target="../media/image2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5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54.xml"/><Relationship Id="rId9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 bwMode="auto">
          <a:xfrm>
            <a:off x="317417" y="5801139"/>
            <a:ext cx="10887242" cy="442265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 algn="ctr">
              <a:lnSpc>
                <a:spcPct val="80000"/>
              </a:lnSpc>
              <a:buClrTx/>
              <a:buSzTx/>
            </a:pPr>
            <a:endParaRPr lang="de-DE" sz="1400" b="1" kern="0" dirty="0">
              <a:latin typeface="TUIType"/>
            </a:endParaRPr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40809476"/>
              </p:ext>
            </p:extLst>
          </p:nvPr>
        </p:nvGraphicFramePr>
        <p:xfrm>
          <a:off x="2001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001" y="1503"/>
                        <a:ext cx="2000" cy="1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769" name="Rectangle 113"/>
          <p:cNvSpPr>
            <a:spLocks noGrp="1" noChangeArrowheads="1"/>
          </p:cNvSpPr>
          <p:nvPr>
            <p:ph type="title"/>
          </p:nvPr>
        </p:nvSpPr>
        <p:spPr bwMode="gray">
          <a:xfrm>
            <a:off x="634116" y="314329"/>
            <a:ext cx="10253845" cy="714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0" name="Rectangle 176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887036" y="6029781"/>
            <a:ext cx="8730242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>
              <a:lnSpc>
                <a:spcPct val="95000"/>
              </a:lnSpc>
              <a:buClrTx/>
              <a:buSzTx/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TUI Group | CTO  - Pieter Jordaan  | DOES Keynote|  2021</a:t>
            </a:r>
            <a:endParaRPr lang="en-GB" dirty="0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634118" y="1329016"/>
            <a:ext cx="10253847" cy="4089133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635475" y="6029781"/>
            <a:ext cx="271236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>
              <a:buClrTx/>
              <a:buSzTx/>
              <a:buFontTx/>
              <a:buNone/>
              <a:defRPr sz="800"/>
            </a:lvl1pPr>
          </a:lstStyle>
          <a:p>
            <a:pPr lvl="0"/>
            <a:fld id="{BF68F70B-AC95-45BE-AEB8-15EAB33A653A}" type="slidenum">
              <a:rPr lang="en-GB" noProof="0" smtClean="0">
                <a:solidFill>
                  <a:schemeClr val="bg1"/>
                </a:solidFill>
              </a:rPr>
              <a:pPr lvl="0"/>
              <a:t>‹#›</a:t>
            </a:fld>
            <a:endParaRPr lang="en-GB" noProof="0" dirty="0">
              <a:solidFill>
                <a:schemeClr val="bg1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0368" y="5894220"/>
            <a:ext cx="426624" cy="256105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 rot="16200000">
            <a:off x="-3155438" y="3953500"/>
            <a:ext cx="1577228" cy="3488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GB" sz="1800" u="none" dirty="0">
                <a:solidFill>
                  <a:srgbClr val="646464"/>
                </a:solidFill>
              </a:rPr>
              <a:t>Primary colours</a:t>
            </a:r>
          </a:p>
        </p:txBody>
      </p:sp>
      <p:cxnSp>
        <p:nvCxnSpPr>
          <p:cNvPr id="10" name="Gerade Verbindung 9"/>
          <p:cNvCxnSpPr/>
          <p:nvPr/>
        </p:nvCxnSpPr>
        <p:spPr bwMode="auto">
          <a:xfrm>
            <a:off x="-2238186" y="3149180"/>
            <a:ext cx="0" cy="2089019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Rectangle 4"/>
          <p:cNvSpPr>
            <a:spLocks noChangeArrowheads="1"/>
          </p:cNvSpPr>
          <p:nvPr/>
        </p:nvSpPr>
        <p:spPr bwMode="gray">
          <a:xfrm>
            <a:off x="-2152587" y="42165"/>
            <a:ext cx="1590509" cy="2313364"/>
          </a:xfrm>
          <a:prstGeom prst="rect">
            <a:avLst/>
          </a:prstGeom>
          <a:solidFill>
            <a:schemeClr val="bg1"/>
          </a:solidFill>
          <a:ln w="19050">
            <a:solidFill>
              <a:srgbClr val="DFDFD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36000" rIns="36000" bIns="36000" anchor="ctr">
            <a:noAutofit/>
          </a:bodyPr>
          <a:lstStyle/>
          <a:p>
            <a:pPr marL="93663" marR="0" lvl="0" indent="-93663" algn="l" defTabSz="1425575" rtl="0" eaLnBrk="1" fontAlgn="base" latinLnBrk="0" hangingPunct="1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GB" sz="1200" b="0" i="0" u="none" strike="noStrike" kern="0" cap="none" spc="0" normalizeH="0" baseline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TUIType"/>
                <a:ea typeface="+mn-ea"/>
                <a:cs typeface="+mn-cs"/>
              </a:rPr>
              <a:t>Always use </a:t>
            </a:r>
            <a:r>
              <a:rPr kumimoji="0" lang="en-GB" sz="1200" b="0" i="0" u="none" strike="noStrike" kern="0" cap="none" spc="0" normalizeH="0" baseline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TUIType"/>
                <a:ea typeface="+mn-ea"/>
                <a:cs typeface="+mn-cs"/>
              </a:rPr>
              <a:t>TUITypeLight</a:t>
            </a:r>
            <a:endParaRPr kumimoji="0" lang="en-GB" sz="1200" b="0" i="0" u="none" strike="noStrike" kern="0" cap="none" spc="0" normalizeH="0" baseline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TUIType"/>
              <a:ea typeface="+mn-ea"/>
              <a:cs typeface="+mn-cs"/>
            </a:endParaRPr>
          </a:p>
          <a:p>
            <a:pPr marL="93663" marR="0" lvl="0" indent="-93663" algn="l" defTabSz="1425575" rtl="0" eaLnBrk="1" fontAlgn="base" latinLnBrk="0" hangingPunct="1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GB" sz="1200" b="0" i="0" u="none" strike="noStrike" kern="0" cap="none" spc="0" normalizeH="0" baseline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TUIType"/>
                <a:ea typeface="+mn-ea"/>
                <a:cs typeface="+mn-cs"/>
              </a:rPr>
              <a:t>Font size14pt</a:t>
            </a:r>
          </a:p>
          <a:p>
            <a:pPr marL="93663" marR="0" lvl="0" indent="-93663" algn="l" defTabSz="1425575" rtl="0" eaLnBrk="1" fontAlgn="base" latinLnBrk="0" hangingPunct="1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TUIType"/>
                <a:ea typeface="+mn-ea"/>
                <a:cs typeface="+mn-cs"/>
              </a:rPr>
              <a:t>Line spacing 6 </a:t>
            </a:r>
            <a:r>
              <a:rPr kumimoji="0" lang="en-GB" sz="1200" b="0" i="0" u="none" strike="noStrike" kern="0" cap="none" spc="0" normalizeH="0" baseline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TUIType"/>
                <a:ea typeface="+mn-ea"/>
                <a:cs typeface="+mn-cs"/>
              </a:rPr>
              <a:t>pt</a:t>
            </a:r>
            <a:endParaRPr kumimoji="0" lang="en-GB" sz="1200" b="0" i="0" u="none" strike="noStrike" kern="0" cap="none" spc="0" normalizeH="0" baseline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TUIType"/>
              <a:ea typeface="+mn-ea"/>
              <a:cs typeface="+mn-cs"/>
            </a:endParaRPr>
          </a:p>
          <a:p>
            <a:pPr marL="93663" marR="0" lvl="0" indent="-93663" algn="l" defTabSz="1425575" rtl="0" eaLnBrk="1" fontAlgn="base" latinLnBrk="0" hangingPunct="1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GB" sz="1200" b="0" i="0" u="none" strike="noStrike" kern="0" cap="none" spc="0" normalizeH="0" baseline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TUIType"/>
                <a:ea typeface="+mn-ea"/>
                <a:cs typeface="+mn-cs"/>
              </a:rPr>
              <a:t>titles in TUI-Dark Blue</a:t>
            </a:r>
          </a:p>
          <a:p>
            <a:pPr marL="93663" marR="0" lvl="0" indent="-93663" algn="l" defTabSz="1425575" rtl="0" eaLnBrk="1" fontAlgn="base" latinLnBrk="0" hangingPunct="1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GB" sz="1200" b="0" i="0" u="none" strike="noStrike" kern="0" cap="none" spc="0" normalizeH="0" baseline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TUIType"/>
                <a:ea typeface="+mn-ea"/>
                <a:cs typeface="+mn-cs"/>
              </a:rPr>
              <a:t>Bullet points &amp; standard text in TUI-Dark Blue</a:t>
            </a:r>
          </a:p>
        </p:txBody>
      </p:sp>
      <p:cxnSp>
        <p:nvCxnSpPr>
          <p:cNvPr id="12" name="Gerade Verbindung 50"/>
          <p:cNvCxnSpPr/>
          <p:nvPr/>
        </p:nvCxnSpPr>
        <p:spPr bwMode="auto">
          <a:xfrm>
            <a:off x="-2238186" y="29279"/>
            <a:ext cx="0" cy="2313364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Textfeld 45"/>
          <p:cNvSpPr txBox="1"/>
          <p:nvPr/>
        </p:nvSpPr>
        <p:spPr>
          <a:xfrm rot="16200000">
            <a:off x="-3523502" y="1024471"/>
            <a:ext cx="2313365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GB" sz="1800" u="none" dirty="0">
                <a:solidFill>
                  <a:srgbClr val="646464"/>
                </a:solidFill>
              </a:rPr>
              <a:t>Conventions</a:t>
            </a:r>
          </a:p>
        </p:txBody>
      </p:sp>
      <p:sp>
        <p:nvSpPr>
          <p:cNvPr id="14" name="Textfeld 13"/>
          <p:cNvSpPr txBox="1"/>
          <p:nvPr/>
        </p:nvSpPr>
        <p:spPr>
          <a:xfrm rot="5400000">
            <a:off x="13064715" y="637543"/>
            <a:ext cx="1627037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lnSpc>
                <a:spcPts val="2000"/>
              </a:lnSpc>
              <a:defRPr sz="1800" u="sng">
                <a:solidFill>
                  <a:srgbClr val="646464"/>
                </a:solidFill>
              </a:defRPr>
            </a:lvl1pPr>
          </a:lstStyle>
          <a:p>
            <a:pPr lvl="0" algn="ctr"/>
            <a:r>
              <a:rPr lang="en-GB" u="none" dirty="0"/>
              <a:t>Functional</a:t>
            </a:r>
          </a:p>
        </p:txBody>
      </p:sp>
      <p:cxnSp>
        <p:nvCxnSpPr>
          <p:cNvPr id="15" name="Gerade Verbindung 14"/>
          <p:cNvCxnSpPr/>
          <p:nvPr/>
        </p:nvCxnSpPr>
        <p:spPr bwMode="auto">
          <a:xfrm>
            <a:off x="13745694" y="-7491"/>
            <a:ext cx="0" cy="156494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Gerade Verbindung 15"/>
          <p:cNvCxnSpPr/>
          <p:nvPr/>
        </p:nvCxnSpPr>
        <p:spPr bwMode="auto">
          <a:xfrm>
            <a:off x="13745694" y="3149178"/>
            <a:ext cx="0" cy="1546102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Rectangle 9"/>
          <p:cNvSpPr>
            <a:spLocks noChangeArrowheads="1"/>
          </p:cNvSpPr>
          <p:nvPr/>
        </p:nvSpPr>
        <p:spPr bwMode="gray">
          <a:xfrm>
            <a:off x="-2178096" y="3706413"/>
            <a:ext cx="1678413" cy="442217"/>
          </a:xfrm>
          <a:prstGeom prst="rect">
            <a:avLst/>
          </a:prstGeom>
          <a:solidFill>
            <a:srgbClr val="C2E6FA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New TUI-Blue 50%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194.230.250</a:t>
            </a:r>
          </a:p>
        </p:txBody>
      </p:sp>
      <p:sp>
        <p:nvSpPr>
          <p:cNvPr id="18" name="Rectangle 10"/>
          <p:cNvSpPr>
            <a:spLocks noChangeArrowheads="1"/>
          </p:cNvSpPr>
          <p:nvPr/>
        </p:nvSpPr>
        <p:spPr bwMode="gray">
          <a:xfrm>
            <a:off x="-2178096" y="4251196"/>
            <a:ext cx="1678413" cy="442217"/>
          </a:xfrm>
          <a:prstGeom prst="rect">
            <a:avLst/>
          </a:prstGeom>
          <a:solidFill>
            <a:srgbClr val="092A5E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cs typeface="Arial" pitchFamily="34" charset="0"/>
              </a:rPr>
              <a:t>TUI-Dark Blu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cs typeface="Arial" pitchFamily="34" charset="0"/>
              </a:rPr>
              <a:t>9.42.94</a:t>
            </a:r>
            <a:endParaRPr kumimoji="0" lang="en-GB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itchFamily="34" charset="0"/>
            </a:endParaRPr>
          </a:p>
        </p:txBody>
      </p:sp>
      <p:sp>
        <p:nvSpPr>
          <p:cNvPr id="19" name="Rectangle 8"/>
          <p:cNvSpPr>
            <a:spLocks noChangeArrowheads="1"/>
          </p:cNvSpPr>
          <p:nvPr/>
        </p:nvSpPr>
        <p:spPr bwMode="gray">
          <a:xfrm>
            <a:off x="-2178096" y="3161627"/>
            <a:ext cx="1678413" cy="442217"/>
          </a:xfrm>
          <a:prstGeom prst="rect">
            <a:avLst/>
          </a:prstGeom>
          <a:solidFill>
            <a:srgbClr val="70CBF4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lvl="0" eaLnBrk="1" hangingPunct="1">
              <a:lnSpc>
                <a:spcPct val="100000"/>
              </a:lnSpc>
              <a:buClrTx/>
              <a:buSzTx/>
            </a:pPr>
            <a:r>
              <a:rPr lang="en-GB" sz="1200" dirty="0">
                <a:solidFill>
                  <a:srgbClr val="000000"/>
                </a:solidFill>
                <a:cs typeface="Arial" pitchFamily="34" charset="0"/>
              </a:rPr>
              <a:t>New TUI-Blue</a:t>
            </a:r>
          </a:p>
          <a:p>
            <a:pPr lvl="0" eaLnBrk="1" hangingPunct="1">
              <a:lnSpc>
                <a:spcPct val="100000"/>
              </a:lnSpc>
              <a:buClrTx/>
              <a:buSzTx/>
            </a:pPr>
            <a:r>
              <a:rPr lang="en-GB" sz="1200" dirty="0">
                <a:solidFill>
                  <a:srgbClr val="000000"/>
                </a:solidFill>
                <a:cs typeface="Arial" pitchFamily="34" charset="0"/>
              </a:rPr>
              <a:t>112.203.244</a:t>
            </a:r>
          </a:p>
        </p:txBody>
      </p:sp>
      <p:sp>
        <p:nvSpPr>
          <p:cNvPr id="21" name="Rectangle 21"/>
          <p:cNvSpPr>
            <a:spLocks noChangeArrowheads="1"/>
          </p:cNvSpPr>
          <p:nvPr/>
        </p:nvSpPr>
        <p:spPr bwMode="gray">
          <a:xfrm>
            <a:off x="12023276" y="527289"/>
            <a:ext cx="1678413" cy="442217"/>
          </a:xfrm>
          <a:prstGeom prst="rect">
            <a:avLst/>
          </a:prstGeom>
          <a:solidFill>
            <a:srgbClr val="AAD700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New TUI-Green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170.215.0</a:t>
            </a:r>
          </a:p>
        </p:txBody>
      </p:sp>
      <p:sp>
        <p:nvSpPr>
          <p:cNvPr id="22" name="Rectangle 8"/>
          <p:cNvSpPr>
            <a:spLocks noChangeArrowheads="1"/>
          </p:cNvSpPr>
          <p:nvPr/>
        </p:nvSpPr>
        <p:spPr bwMode="gray">
          <a:xfrm>
            <a:off x="12023276" y="1079233"/>
            <a:ext cx="1678413" cy="442217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TUI-</a:t>
            </a:r>
            <a:r>
              <a:rPr lang="en-GB" sz="1200" dirty="0">
                <a:solidFill>
                  <a:srgbClr val="000000"/>
                </a:solidFill>
                <a:latin typeface="+mn-lt"/>
                <a:cs typeface="Arial" pitchFamily="34" charset="0"/>
              </a:rPr>
              <a:t>Yellow</a:t>
            </a:r>
            <a:r>
              <a:rPr kumimoji="0" lang="en-GB" sz="120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200" dirty="0">
                <a:solidFill>
                  <a:srgbClr val="000000"/>
                </a:solidFill>
                <a:latin typeface="+mn-lt"/>
                <a:cs typeface="Arial" pitchFamily="34" charset="0"/>
              </a:rPr>
              <a:t>2</a:t>
            </a:r>
            <a:r>
              <a:rPr kumimoji="0" lang="en-GB" sz="120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55.225.0</a:t>
            </a:r>
          </a:p>
        </p:txBody>
      </p:sp>
      <p:sp>
        <p:nvSpPr>
          <p:cNvPr id="23" name="Rectangle 14"/>
          <p:cNvSpPr>
            <a:spLocks noChangeArrowheads="1"/>
          </p:cNvSpPr>
          <p:nvPr/>
        </p:nvSpPr>
        <p:spPr bwMode="gray">
          <a:xfrm>
            <a:off x="12023276" y="15664"/>
            <a:ext cx="1678413" cy="442217"/>
          </a:xfrm>
          <a:prstGeom prst="rect">
            <a:avLst/>
          </a:prstGeom>
          <a:solidFill>
            <a:srgbClr val="EF0000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cs typeface="Arial" pitchFamily="34" charset="0"/>
              </a:rPr>
              <a:t>TUI-Re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cs typeface="Arial" pitchFamily="34" charset="0"/>
              </a:rPr>
              <a:t>239.0.0</a:t>
            </a:r>
          </a:p>
        </p:txBody>
      </p:sp>
      <p:sp>
        <p:nvSpPr>
          <p:cNvPr id="24" name="Rectangle 6"/>
          <p:cNvSpPr>
            <a:spLocks noChangeArrowheads="1"/>
          </p:cNvSpPr>
          <p:nvPr/>
        </p:nvSpPr>
        <p:spPr bwMode="gray">
          <a:xfrm>
            <a:off x="12023276" y="4253061"/>
            <a:ext cx="1678413" cy="442217"/>
          </a:xfrm>
          <a:prstGeom prst="rect">
            <a:avLst/>
          </a:prstGeom>
          <a:solidFill>
            <a:srgbClr val="000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cs typeface="Arial" pitchFamily="34" charset="0"/>
              </a:rPr>
              <a:t>TUI-Black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cs typeface="Arial" pitchFamily="34" charset="0"/>
              </a:rPr>
              <a:t>0.0.0</a:t>
            </a:r>
            <a:endParaRPr kumimoji="0" lang="en-GB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itchFamily="34" charset="0"/>
            </a:endParaRPr>
          </a:p>
        </p:txBody>
      </p:sp>
      <p:sp>
        <p:nvSpPr>
          <p:cNvPr id="25" name="Rectangle 7"/>
          <p:cNvSpPr>
            <a:spLocks noChangeArrowheads="1"/>
          </p:cNvSpPr>
          <p:nvPr/>
        </p:nvSpPr>
        <p:spPr bwMode="gray">
          <a:xfrm>
            <a:off x="-2178096" y="4795981"/>
            <a:ext cx="1678413" cy="44221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TUI-Whit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255.255.255</a:t>
            </a:r>
          </a:p>
        </p:txBody>
      </p:sp>
      <p:sp>
        <p:nvSpPr>
          <p:cNvPr id="26" name="Rectangle 11"/>
          <p:cNvSpPr>
            <a:spLocks noChangeArrowheads="1"/>
          </p:cNvSpPr>
          <p:nvPr/>
        </p:nvSpPr>
        <p:spPr bwMode="gray">
          <a:xfrm>
            <a:off x="12022187" y="3701121"/>
            <a:ext cx="1678413" cy="44221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New TUI-Grey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115.115.115</a:t>
            </a:r>
          </a:p>
        </p:txBody>
      </p:sp>
      <p:sp>
        <p:nvSpPr>
          <p:cNvPr id="27" name="Rectangle 8"/>
          <p:cNvSpPr>
            <a:spLocks noChangeArrowheads="1"/>
          </p:cNvSpPr>
          <p:nvPr/>
        </p:nvSpPr>
        <p:spPr bwMode="gray">
          <a:xfrm>
            <a:off x="12022187" y="3149177"/>
            <a:ext cx="1678413" cy="442217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New TUI-Grey 25%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200" dirty="0">
                <a:solidFill>
                  <a:srgbClr val="000000"/>
                </a:solidFill>
                <a:latin typeface="+mn-lt"/>
                <a:cs typeface="Arial" pitchFamily="34" charset="0"/>
              </a:rPr>
              <a:t>220.220.220</a:t>
            </a:r>
            <a:endParaRPr kumimoji="0" lang="en-GB" sz="120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cs typeface="Arial" pitchFamily="34" charset="0"/>
            </a:endParaRPr>
          </a:p>
        </p:txBody>
      </p:sp>
      <p:sp>
        <p:nvSpPr>
          <p:cNvPr id="28" name="Textfeld 27"/>
          <p:cNvSpPr txBox="1"/>
          <p:nvPr/>
        </p:nvSpPr>
        <p:spPr>
          <a:xfrm rot="5400000">
            <a:off x="13105178" y="3747825"/>
            <a:ext cx="1546100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lvl="0">
              <a:lnSpc>
                <a:spcPts val="2000"/>
              </a:lnSpc>
              <a:defRPr sz="1800" u="sng">
                <a:solidFill>
                  <a:srgbClr val="646464"/>
                </a:solidFill>
              </a:defRPr>
            </a:lvl1pPr>
          </a:lstStyle>
          <a:p>
            <a:pPr lvl="0"/>
            <a:r>
              <a:rPr lang="en-GB" u="none" dirty="0"/>
              <a:t>Achromatic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677" r:id="rId2"/>
    <p:sldLayoutId id="2147483773" r:id="rId3"/>
    <p:sldLayoutId id="2147483774" r:id="rId4"/>
    <p:sldLayoutId id="2147483656" r:id="rId5"/>
    <p:sldLayoutId id="2147483721" r:id="rId6"/>
    <p:sldLayoutId id="2147483722" r:id="rId7"/>
    <p:sldLayoutId id="2147483723" r:id="rId8"/>
  </p:sldLayoutIdLst>
  <p:transition/>
  <p:hf sldNum="0" hdr="0" dt="0"/>
  <p:txStyles>
    <p:titleStyle>
      <a:lvl1pPr algn="l" defTabSz="282575" rtl="0" eaLnBrk="1" fontAlgn="base" hangingPunct="1">
        <a:lnSpc>
          <a:spcPct val="95000"/>
        </a:lnSpc>
        <a:spcBef>
          <a:spcPct val="0"/>
        </a:spcBef>
        <a:spcAft>
          <a:spcPct val="0"/>
        </a:spcAft>
        <a:tabLst>
          <a:tab pos="282575" algn="l"/>
        </a:tabLst>
        <a:defRPr sz="2400" b="0" cap="none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2pPr>
      <a:lvl3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3pPr>
      <a:lvl4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4pPr>
      <a:lvl5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5pPr>
      <a:lvl6pPr marL="4572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6pPr>
      <a:lvl7pPr marL="9144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7pPr>
      <a:lvl8pPr marL="13716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8pPr>
      <a:lvl9pPr marL="18288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9pPr>
    </p:titleStyle>
    <p:bodyStyle>
      <a:lvl1pPr marL="176213" indent="-176213" algn="l" defTabSz="1425575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67450" algn="l"/>
        </a:tabLs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1425575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400">
          <a:solidFill>
            <a:schemeClr val="tx1"/>
          </a:solidFill>
          <a:latin typeface="+mn-lt"/>
        </a:defRPr>
      </a:lvl2pPr>
      <a:lvl3pPr marL="538163" indent="-180975" algn="l" defTabSz="1425575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400">
          <a:solidFill>
            <a:schemeClr val="tx1"/>
          </a:solidFill>
          <a:latin typeface="+mn-lt"/>
        </a:defRPr>
      </a:lvl3pPr>
      <a:lvl4pPr marL="717550" indent="-176213" algn="l" defTabSz="1425575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808038" algn="l"/>
          <a:tab pos="898525" algn="l"/>
          <a:tab pos="2085975" algn="l"/>
          <a:tab pos="4171950" algn="l"/>
          <a:tab pos="6257925" algn="l"/>
        </a:tabLst>
        <a:defRPr sz="1400">
          <a:solidFill>
            <a:schemeClr val="tx1"/>
          </a:solidFill>
          <a:latin typeface="+mn-lt"/>
        </a:defRPr>
      </a:lvl4pPr>
      <a:lvl5pPr marL="898525" indent="-180975" algn="l" defTabSz="1425575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400">
          <a:solidFill>
            <a:schemeClr val="tx1"/>
          </a:solidFill>
          <a:latin typeface="+mn-lt"/>
        </a:defRPr>
      </a:lvl5pPr>
      <a:lvl6pPr marL="31242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6pPr>
      <a:lvl7pPr marL="35814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7pPr>
      <a:lvl8pPr marL="40386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8pPr>
      <a:lvl9pPr marL="44958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 userDrawn="1">
          <p15:clr>
            <a:srgbClr val="F26B43"/>
          </p15:clr>
        </p15:guide>
        <p15:guide id="2" orient="horz" pos="3612" userDrawn="1">
          <p15:clr>
            <a:srgbClr val="F26B43"/>
          </p15:clr>
        </p15:guide>
        <p15:guide id="3" pos="5443" userDrawn="1">
          <p15:clr>
            <a:srgbClr val="F26B43"/>
          </p15:clr>
        </p15:guide>
        <p15:guide id="4" pos="31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/>
          <p:nvPr/>
        </p:nvSpPr>
        <p:spPr bwMode="auto">
          <a:xfrm>
            <a:off x="251905" y="5760572"/>
            <a:ext cx="11018266" cy="46782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sp>
        <p:nvSpPr>
          <p:cNvPr id="70769" name="Rectangle 113"/>
          <p:cNvSpPr>
            <a:spLocks noGrp="1" noChangeArrowheads="1"/>
          </p:cNvSpPr>
          <p:nvPr>
            <p:ph type="title"/>
          </p:nvPr>
        </p:nvSpPr>
        <p:spPr bwMode="gray">
          <a:xfrm>
            <a:off x="504829" y="325195"/>
            <a:ext cx="10512425" cy="755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20" name="Rectangle 176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705600" y="6002426"/>
            <a:ext cx="8412670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>
              <a:lnSpc>
                <a:spcPct val="95000"/>
              </a:lnSpc>
              <a:buClrTx/>
              <a:buSzTx/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504829" y="1399382"/>
            <a:ext cx="10512425" cy="39637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504826" y="6002426"/>
            <a:ext cx="271236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>
              <a:buClrTx/>
              <a:buSzTx/>
              <a:buFontTx/>
              <a:buNone/>
              <a:defRPr sz="800"/>
            </a:lvl1pPr>
          </a:lstStyle>
          <a:p>
            <a:fld id="{BF68F70B-AC95-45BE-AEB8-15EAB33A653A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4410" y="5859036"/>
            <a:ext cx="338572" cy="270904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 rot="16200000">
            <a:off x="-2666942" y="4192039"/>
            <a:ext cx="1577228" cy="3488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000"/>
              </a:lnSpc>
              <a:buClr>
                <a:srgbClr val="737373"/>
              </a:buClr>
            </a:pPr>
            <a:r>
              <a:rPr lang="en-GB" sz="1800" dirty="0">
                <a:solidFill>
                  <a:srgbClr val="646464"/>
                </a:solidFill>
              </a:rPr>
              <a:t>Primary colours</a:t>
            </a:r>
          </a:p>
        </p:txBody>
      </p:sp>
      <p:cxnSp>
        <p:nvCxnSpPr>
          <p:cNvPr id="9" name="Gerade Verbindung 8"/>
          <p:cNvCxnSpPr/>
          <p:nvPr/>
        </p:nvCxnSpPr>
        <p:spPr bwMode="auto">
          <a:xfrm>
            <a:off x="-1776241" y="3331160"/>
            <a:ext cx="0" cy="2209736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ctangle 4"/>
          <p:cNvSpPr>
            <a:spLocks noChangeArrowheads="1"/>
          </p:cNvSpPr>
          <p:nvPr/>
        </p:nvSpPr>
        <p:spPr bwMode="gray">
          <a:xfrm>
            <a:off x="-1708310" y="44605"/>
            <a:ext cx="1262239" cy="2447045"/>
          </a:xfrm>
          <a:prstGeom prst="rect">
            <a:avLst/>
          </a:prstGeom>
          <a:solidFill>
            <a:schemeClr val="bg1"/>
          </a:solidFill>
          <a:ln w="19050">
            <a:solidFill>
              <a:srgbClr val="DFDFD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36000" rIns="36000" bIns="36000" anchor="ctr">
            <a:noAutofit/>
          </a:bodyPr>
          <a:lstStyle/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Always use </a:t>
            </a:r>
            <a:r>
              <a:rPr lang="en-GB" sz="1200" kern="0" dirty="0" err="1">
                <a:solidFill>
                  <a:srgbClr val="646464"/>
                </a:solidFill>
                <a:latin typeface="TUIType"/>
              </a:rPr>
              <a:t>TUITypeLight</a:t>
            </a:r>
            <a:endParaRPr lang="en-GB" sz="1200" kern="0" dirty="0">
              <a:solidFill>
                <a:srgbClr val="646464"/>
              </a:solidFill>
              <a:latin typeface="TUIType"/>
            </a:endParaRP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Font size14pt</a:t>
            </a: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Line spacing 6 </a:t>
            </a:r>
            <a:r>
              <a:rPr lang="en-GB" sz="1200" kern="0" dirty="0" err="1">
                <a:solidFill>
                  <a:srgbClr val="646464"/>
                </a:solidFill>
                <a:latin typeface="TUIType"/>
              </a:rPr>
              <a:t>pt</a:t>
            </a:r>
            <a:endParaRPr lang="en-GB" sz="1200" kern="0" dirty="0">
              <a:solidFill>
                <a:srgbClr val="646464"/>
              </a:solidFill>
              <a:latin typeface="TUIType"/>
            </a:endParaRP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titles in TUI-Dark Blue</a:t>
            </a: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Bullet points &amp; standard text in TUI-Dark Blue</a:t>
            </a:r>
          </a:p>
        </p:txBody>
      </p:sp>
      <p:cxnSp>
        <p:nvCxnSpPr>
          <p:cNvPr id="11" name="Gerade Verbindung 50"/>
          <p:cNvCxnSpPr/>
          <p:nvPr/>
        </p:nvCxnSpPr>
        <p:spPr bwMode="auto">
          <a:xfrm>
            <a:off x="-1776241" y="30974"/>
            <a:ext cx="0" cy="2447045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extfeld 45"/>
          <p:cNvSpPr txBox="1"/>
          <p:nvPr/>
        </p:nvSpPr>
        <p:spPr>
          <a:xfrm rot="16200000">
            <a:off x="-3101851" y="1093750"/>
            <a:ext cx="2447046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  <a:buClr>
                <a:srgbClr val="737373"/>
              </a:buClr>
            </a:pPr>
            <a:r>
              <a:rPr lang="en-GB" sz="1800" dirty="0">
                <a:solidFill>
                  <a:srgbClr val="646464"/>
                </a:solidFill>
              </a:rPr>
              <a:t>Conventions</a:t>
            </a:r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gray">
          <a:xfrm>
            <a:off x="-1728548" y="3920592"/>
            <a:ext cx="1332001" cy="467771"/>
          </a:xfrm>
          <a:prstGeom prst="rect">
            <a:avLst/>
          </a:prstGeom>
          <a:solidFill>
            <a:srgbClr val="C2E6FA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Blue 50%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194.230.250</a:t>
            </a:r>
          </a:p>
        </p:txBody>
      </p:sp>
      <p:sp>
        <p:nvSpPr>
          <p:cNvPr id="14" name="Rectangle 10"/>
          <p:cNvSpPr>
            <a:spLocks noChangeArrowheads="1"/>
          </p:cNvSpPr>
          <p:nvPr/>
        </p:nvSpPr>
        <p:spPr bwMode="gray">
          <a:xfrm>
            <a:off x="-1728548" y="4496858"/>
            <a:ext cx="1332001" cy="467771"/>
          </a:xfrm>
          <a:prstGeom prst="rect">
            <a:avLst/>
          </a:prstGeom>
          <a:solidFill>
            <a:srgbClr val="092A5E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TUI-Dark Blue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9.42.94</a:t>
            </a:r>
            <a:endParaRPr lang="en-GB" sz="1200" dirty="0">
              <a:solidFill>
                <a:srgbClr val="092A5E"/>
              </a:solidFill>
              <a:latin typeface="TUITypeLight"/>
              <a:cs typeface="Arial" pitchFamily="34" charset="0"/>
            </a:endParaRPr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gray">
          <a:xfrm>
            <a:off x="-1728548" y="3344327"/>
            <a:ext cx="1332001" cy="467771"/>
          </a:xfrm>
          <a:prstGeom prst="rect">
            <a:avLst/>
          </a:prstGeom>
          <a:solidFill>
            <a:srgbClr val="70CBF4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</a:pPr>
            <a:r>
              <a:rPr lang="en-GB" sz="1200" dirty="0">
                <a:solidFill>
                  <a:srgbClr val="000000"/>
                </a:solidFill>
                <a:cs typeface="Arial" pitchFamily="34" charset="0"/>
              </a:rPr>
              <a:t>New TUI-Blue</a:t>
            </a:r>
          </a:p>
          <a:p>
            <a:pPr eaLnBrk="1" hangingPunct="1">
              <a:lnSpc>
                <a:spcPct val="100000"/>
              </a:lnSpc>
              <a:buClrTx/>
              <a:buSzTx/>
            </a:pPr>
            <a:r>
              <a:rPr lang="en-GB" sz="1200" dirty="0">
                <a:solidFill>
                  <a:srgbClr val="000000"/>
                </a:solidFill>
                <a:cs typeface="Arial" pitchFamily="34" charset="0"/>
              </a:rPr>
              <a:t>112.203.244</a:t>
            </a:r>
          </a:p>
        </p:txBody>
      </p:sp>
      <p:sp>
        <p:nvSpPr>
          <p:cNvPr id="16" name="Rectangle 7"/>
          <p:cNvSpPr>
            <a:spLocks noChangeArrowheads="1"/>
          </p:cNvSpPr>
          <p:nvPr/>
        </p:nvSpPr>
        <p:spPr bwMode="gray">
          <a:xfrm>
            <a:off x="-1728548" y="5073123"/>
            <a:ext cx="1332001" cy="46777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TUI-White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255.255.255</a:t>
            </a:r>
          </a:p>
        </p:txBody>
      </p:sp>
      <p:sp>
        <p:nvSpPr>
          <p:cNvPr id="17" name="Textfeld 16"/>
          <p:cNvSpPr txBox="1"/>
          <p:nvPr/>
        </p:nvSpPr>
        <p:spPr>
          <a:xfrm rot="5400000">
            <a:off x="12466963" y="684462"/>
            <a:ext cx="1721058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lnSpc>
                <a:spcPts val="2000"/>
              </a:lnSpc>
              <a:defRPr sz="1800" u="sng">
                <a:solidFill>
                  <a:srgbClr val="646464"/>
                </a:solidFill>
              </a:defRPr>
            </a:lvl1pPr>
          </a:lstStyle>
          <a:p>
            <a:pPr>
              <a:buClr>
                <a:srgbClr val="737373"/>
              </a:buClr>
            </a:pPr>
            <a:r>
              <a:rPr lang="en-GB" u="none" dirty="0"/>
              <a:t>Functional</a:t>
            </a:r>
          </a:p>
        </p:txBody>
      </p:sp>
      <p:cxnSp>
        <p:nvCxnSpPr>
          <p:cNvPr id="18" name="Gerade Verbindung 17"/>
          <p:cNvCxnSpPr/>
          <p:nvPr/>
        </p:nvCxnSpPr>
        <p:spPr bwMode="auto">
          <a:xfrm>
            <a:off x="13222308" y="-7922"/>
            <a:ext cx="0" cy="1655373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rade Verbindung 18"/>
          <p:cNvCxnSpPr/>
          <p:nvPr/>
        </p:nvCxnSpPr>
        <p:spPr bwMode="auto">
          <a:xfrm>
            <a:off x="13222308" y="3331159"/>
            <a:ext cx="0" cy="1635446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Rectangle 21"/>
          <p:cNvSpPr>
            <a:spLocks noChangeArrowheads="1"/>
          </p:cNvSpPr>
          <p:nvPr/>
        </p:nvSpPr>
        <p:spPr bwMode="gray">
          <a:xfrm>
            <a:off x="11855389" y="557760"/>
            <a:ext cx="1332001" cy="467771"/>
          </a:xfrm>
          <a:prstGeom prst="rect">
            <a:avLst/>
          </a:prstGeom>
          <a:solidFill>
            <a:srgbClr val="AAD700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Green 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170.215.0</a:t>
            </a:r>
          </a:p>
        </p:txBody>
      </p:sp>
      <p:sp>
        <p:nvSpPr>
          <p:cNvPr id="24" name="Rectangle 8"/>
          <p:cNvSpPr>
            <a:spLocks noChangeArrowheads="1"/>
          </p:cNvSpPr>
          <p:nvPr/>
        </p:nvSpPr>
        <p:spPr bwMode="gray">
          <a:xfrm>
            <a:off x="11855389" y="1141596"/>
            <a:ext cx="1332001" cy="467771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TUI-Yellow 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255.225.0</a:t>
            </a:r>
          </a:p>
        </p:txBody>
      </p:sp>
      <p:sp>
        <p:nvSpPr>
          <p:cNvPr id="25" name="Rectangle 14"/>
          <p:cNvSpPr>
            <a:spLocks noChangeArrowheads="1"/>
          </p:cNvSpPr>
          <p:nvPr/>
        </p:nvSpPr>
        <p:spPr bwMode="gray">
          <a:xfrm>
            <a:off x="11855389" y="16567"/>
            <a:ext cx="1332001" cy="467771"/>
          </a:xfrm>
          <a:prstGeom prst="rect">
            <a:avLst/>
          </a:prstGeom>
          <a:solidFill>
            <a:srgbClr val="EF0000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TUI-Red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239.0.0</a:t>
            </a:r>
          </a:p>
        </p:txBody>
      </p:sp>
      <p:sp>
        <p:nvSpPr>
          <p:cNvPr id="26" name="Rectangle 6"/>
          <p:cNvSpPr>
            <a:spLocks noChangeArrowheads="1"/>
          </p:cNvSpPr>
          <p:nvPr/>
        </p:nvSpPr>
        <p:spPr bwMode="gray">
          <a:xfrm>
            <a:off x="11855389" y="4498831"/>
            <a:ext cx="1332001" cy="467771"/>
          </a:xfrm>
          <a:prstGeom prst="rect">
            <a:avLst/>
          </a:prstGeom>
          <a:solidFill>
            <a:srgbClr val="000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TUI-Black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0.0.0</a:t>
            </a:r>
            <a:endParaRPr lang="en-GB" sz="1200" dirty="0">
              <a:solidFill>
                <a:srgbClr val="092A5E"/>
              </a:solidFill>
              <a:latin typeface="TUITypeLight"/>
              <a:cs typeface="Arial" pitchFamily="34" charset="0"/>
            </a:endParaRPr>
          </a:p>
        </p:txBody>
      </p:sp>
      <p:sp>
        <p:nvSpPr>
          <p:cNvPr id="27" name="Rectangle 11"/>
          <p:cNvSpPr>
            <a:spLocks noChangeArrowheads="1"/>
          </p:cNvSpPr>
          <p:nvPr/>
        </p:nvSpPr>
        <p:spPr bwMode="gray">
          <a:xfrm>
            <a:off x="11854525" y="3914994"/>
            <a:ext cx="1332001" cy="4677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Grey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115.115.115</a:t>
            </a:r>
          </a:p>
        </p:txBody>
      </p:sp>
      <p:sp>
        <p:nvSpPr>
          <p:cNvPr id="28" name="Rectangle 8"/>
          <p:cNvSpPr>
            <a:spLocks noChangeArrowheads="1"/>
          </p:cNvSpPr>
          <p:nvPr/>
        </p:nvSpPr>
        <p:spPr bwMode="gray">
          <a:xfrm>
            <a:off x="11854525" y="3331157"/>
            <a:ext cx="1332001" cy="467771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Grey 25%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220.220.220</a:t>
            </a:r>
          </a:p>
        </p:txBody>
      </p:sp>
      <p:sp>
        <p:nvSpPr>
          <p:cNvPr id="29" name="Textfeld 28"/>
          <p:cNvSpPr txBox="1"/>
          <p:nvPr/>
        </p:nvSpPr>
        <p:spPr>
          <a:xfrm rot="5400000">
            <a:off x="12509769" y="3974480"/>
            <a:ext cx="1635445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lvl="0">
              <a:lnSpc>
                <a:spcPts val="2000"/>
              </a:lnSpc>
              <a:defRPr sz="1800" u="sng">
                <a:solidFill>
                  <a:srgbClr val="646464"/>
                </a:solidFill>
              </a:defRPr>
            </a:lvl1pPr>
          </a:lstStyle>
          <a:p>
            <a:pPr>
              <a:buClr>
                <a:srgbClr val="737373"/>
              </a:buClr>
            </a:pPr>
            <a:r>
              <a:rPr lang="en-GB" u="none" dirty="0"/>
              <a:t>Achromatic</a:t>
            </a:r>
          </a:p>
        </p:txBody>
      </p:sp>
    </p:spTree>
    <p:extLst>
      <p:ext uri="{BB962C8B-B14F-4D97-AF65-F5344CB8AC3E}">
        <p14:creationId xmlns:p14="http://schemas.microsoft.com/office/powerpoint/2010/main" val="4215302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845" r:id="rId9"/>
  </p:sldLayoutIdLst>
  <p:transition/>
  <p:hf sldNum="0" hdr="0" dt="0"/>
  <p:txStyles>
    <p:titleStyle>
      <a:lvl1pPr algn="l" defTabSz="282575" rtl="0" eaLnBrk="1" fontAlgn="base" hangingPunct="1">
        <a:lnSpc>
          <a:spcPct val="95000"/>
        </a:lnSpc>
        <a:spcBef>
          <a:spcPct val="0"/>
        </a:spcBef>
        <a:spcAft>
          <a:spcPct val="0"/>
        </a:spcAft>
        <a:tabLst>
          <a:tab pos="282575" algn="l"/>
        </a:tabLst>
        <a:defRPr sz="2400" b="0" cap="none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2pPr>
      <a:lvl3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3pPr>
      <a:lvl4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4pPr>
      <a:lvl5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5pPr>
      <a:lvl6pPr marL="4572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6pPr>
      <a:lvl7pPr marL="9144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7pPr>
      <a:lvl8pPr marL="13716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8pPr>
      <a:lvl9pPr marL="18288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9pPr>
    </p:titleStyle>
    <p:bodyStyle>
      <a:lvl1pPr marL="266700" indent="-266700" algn="l" defTabSz="1425575" rtl="0" eaLnBrk="1" fontAlgn="base" hangingPunct="1">
        <a:lnSpc>
          <a:spcPct val="95000"/>
        </a:lnSpc>
        <a:spcBef>
          <a:spcPts val="5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66700" algn="l"/>
          <a:tab pos="2085975" algn="l"/>
          <a:tab pos="4171950" algn="l"/>
          <a:tab pos="6267450" algn="l"/>
        </a:tabLst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542925" indent="-276225" algn="l" defTabSz="1425575" rtl="0" eaLnBrk="1" fontAlgn="base" hangingPunct="1">
        <a:lnSpc>
          <a:spcPct val="95000"/>
        </a:lnSpc>
        <a:spcBef>
          <a:spcPts val="5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800">
          <a:solidFill>
            <a:schemeClr val="tx1"/>
          </a:solidFill>
          <a:latin typeface="+mn-lt"/>
        </a:defRPr>
      </a:lvl2pPr>
      <a:lvl3pPr marL="809625" indent="-266700" algn="l" defTabSz="1425575" rtl="0" eaLnBrk="1" fontAlgn="base" hangingPunct="1">
        <a:lnSpc>
          <a:spcPct val="95000"/>
        </a:lnSpc>
        <a:spcBef>
          <a:spcPts val="5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800">
          <a:solidFill>
            <a:schemeClr val="tx1"/>
          </a:solidFill>
          <a:latin typeface="+mn-lt"/>
        </a:defRPr>
      </a:lvl3pPr>
      <a:lvl4pPr marL="1076325" indent="-266700" algn="l" defTabSz="1425575" rtl="0" eaLnBrk="1" fontAlgn="base" hangingPunct="1">
        <a:lnSpc>
          <a:spcPct val="95000"/>
        </a:lnSpc>
        <a:spcBef>
          <a:spcPts val="5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800">
          <a:solidFill>
            <a:schemeClr val="tx1"/>
          </a:solidFill>
          <a:latin typeface="+mn-lt"/>
        </a:defRPr>
      </a:lvl4pPr>
      <a:lvl5pPr marL="1343025" indent="-266700" algn="l" defTabSz="1425575" rtl="0" eaLnBrk="1" fontAlgn="base" hangingPunct="1">
        <a:lnSpc>
          <a:spcPct val="95000"/>
        </a:lnSpc>
        <a:spcBef>
          <a:spcPts val="5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800">
          <a:solidFill>
            <a:schemeClr val="tx1"/>
          </a:solidFill>
          <a:latin typeface="+mn-lt"/>
        </a:defRPr>
      </a:lvl5pPr>
      <a:lvl6pPr marL="31242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6pPr>
      <a:lvl7pPr marL="35814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7pPr>
      <a:lvl8pPr marL="40386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8pPr>
      <a:lvl9pPr marL="44958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85" userDrawn="1">
          <p15:clr>
            <a:srgbClr val="F26B43"/>
          </p15:clr>
        </p15:guide>
        <p15:guide id="2" orient="horz" pos="3380" userDrawn="1">
          <p15:clr>
            <a:srgbClr val="F26B43"/>
          </p15:clr>
        </p15:guide>
        <p15:guide id="3" pos="318" userDrawn="1">
          <p15:clr>
            <a:srgbClr val="F26B43"/>
          </p15:clr>
        </p15:guide>
        <p15:guide id="4" pos="69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 bwMode="auto">
          <a:xfrm>
            <a:off x="317417" y="5801139"/>
            <a:ext cx="10887242" cy="442265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580852865"/>
              </p:ext>
            </p:extLst>
          </p:nvPr>
        </p:nvGraphicFramePr>
        <p:xfrm>
          <a:off x="2001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001" y="1503"/>
                        <a:ext cx="2000" cy="1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769" name="Rectangle 113"/>
          <p:cNvSpPr>
            <a:spLocks noGrp="1" noChangeArrowheads="1"/>
          </p:cNvSpPr>
          <p:nvPr>
            <p:ph type="title"/>
          </p:nvPr>
        </p:nvSpPr>
        <p:spPr bwMode="gray">
          <a:xfrm>
            <a:off x="634116" y="314329"/>
            <a:ext cx="10253845" cy="714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0" name="Rectangle 176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887036" y="6029781"/>
            <a:ext cx="8730242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>
              <a:lnSpc>
                <a:spcPct val="95000"/>
              </a:lnSpc>
              <a:buClrTx/>
              <a:buSzTx/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634118" y="1329016"/>
            <a:ext cx="10253847" cy="4089133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635475" y="6029781"/>
            <a:ext cx="271236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>
              <a:buClrTx/>
              <a:buSzTx/>
              <a:buFontTx/>
              <a:buNone/>
              <a:defRPr sz="800"/>
            </a:lvl1pPr>
          </a:lstStyle>
          <a:p>
            <a:fld id="{BF68F70B-AC95-45BE-AEB8-15EAB33A653A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0368" y="5894220"/>
            <a:ext cx="426624" cy="256105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 rot="16200000">
            <a:off x="-3155438" y="3953500"/>
            <a:ext cx="1577228" cy="3488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000"/>
              </a:lnSpc>
              <a:buClr>
                <a:srgbClr val="737373"/>
              </a:buClr>
            </a:pPr>
            <a:r>
              <a:rPr lang="en-GB" sz="1800" dirty="0">
                <a:solidFill>
                  <a:srgbClr val="646464"/>
                </a:solidFill>
              </a:rPr>
              <a:t>Primary colours</a:t>
            </a:r>
          </a:p>
        </p:txBody>
      </p:sp>
      <p:cxnSp>
        <p:nvCxnSpPr>
          <p:cNvPr id="10" name="Gerade Verbindung 9"/>
          <p:cNvCxnSpPr/>
          <p:nvPr/>
        </p:nvCxnSpPr>
        <p:spPr bwMode="auto">
          <a:xfrm>
            <a:off x="-2238186" y="3149180"/>
            <a:ext cx="0" cy="2089019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Rectangle 4"/>
          <p:cNvSpPr>
            <a:spLocks noChangeArrowheads="1"/>
          </p:cNvSpPr>
          <p:nvPr/>
        </p:nvSpPr>
        <p:spPr bwMode="gray">
          <a:xfrm>
            <a:off x="-2152587" y="42165"/>
            <a:ext cx="1590509" cy="2313364"/>
          </a:xfrm>
          <a:prstGeom prst="rect">
            <a:avLst/>
          </a:prstGeom>
          <a:solidFill>
            <a:schemeClr val="bg1"/>
          </a:solidFill>
          <a:ln w="19050">
            <a:solidFill>
              <a:srgbClr val="DFDFD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36000" rIns="36000" bIns="36000" anchor="ctr">
            <a:noAutofit/>
          </a:bodyPr>
          <a:lstStyle/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Always use </a:t>
            </a:r>
            <a:r>
              <a:rPr lang="en-GB" sz="1200" kern="0" dirty="0" err="1">
                <a:solidFill>
                  <a:srgbClr val="646464"/>
                </a:solidFill>
                <a:latin typeface="TUIType"/>
              </a:rPr>
              <a:t>TUITypeLight</a:t>
            </a:r>
            <a:endParaRPr lang="en-GB" sz="1200" kern="0" dirty="0">
              <a:solidFill>
                <a:srgbClr val="646464"/>
              </a:solidFill>
              <a:latin typeface="TUIType"/>
            </a:endParaRP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Font size14pt</a:t>
            </a: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Line spacing 6 </a:t>
            </a:r>
            <a:r>
              <a:rPr lang="en-GB" sz="1200" kern="0" dirty="0" err="1">
                <a:solidFill>
                  <a:srgbClr val="646464"/>
                </a:solidFill>
                <a:latin typeface="TUIType"/>
              </a:rPr>
              <a:t>pt</a:t>
            </a:r>
            <a:endParaRPr lang="en-GB" sz="1200" kern="0" dirty="0">
              <a:solidFill>
                <a:srgbClr val="646464"/>
              </a:solidFill>
              <a:latin typeface="TUIType"/>
            </a:endParaRP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titles in TUI-Dark Blue</a:t>
            </a: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Bullet points &amp; standard text in TUI-Dark Blue</a:t>
            </a:r>
          </a:p>
        </p:txBody>
      </p:sp>
      <p:cxnSp>
        <p:nvCxnSpPr>
          <p:cNvPr id="12" name="Gerade Verbindung 50"/>
          <p:cNvCxnSpPr/>
          <p:nvPr/>
        </p:nvCxnSpPr>
        <p:spPr bwMode="auto">
          <a:xfrm>
            <a:off x="-2238186" y="29279"/>
            <a:ext cx="0" cy="2313364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Textfeld 45"/>
          <p:cNvSpPr txBox="1"/>
          <p:nvPr/>
        </p:nvSpPr>
        <p:spPr>
          <a:xfrm rot="16200000">
            <a:off x="-3523502" y="1024471"/>
            <a:ext cx="2313365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  <a:buClr>
                <a:srgbClr val="737373"/>
              </a:buClr>
            </a:pPr>
            <a:r>
              <a:rPr lang="en-GB" sz="1800" dirty="0">
                <a:solidFill>
                  <a:srgbClr val="646464"/>
                </a:solidFill>
              </a:rPr>
              <a:t>Conventions</a:t>
            </a:r>
          </a:p>
        </p:txBody>
      </p:sp>
      <p:sp>
        <p:nvSpPr>
          <p:cNvPr id="14" name="Textfeld 13"/>
          <p:cNvSpPr txBox="1"/>
          <p:nvPr/>
        </p:nvSpPr>
        <p:spPr>
          <a:xfrm rot="5400000">
            <a:off x="13064715" y="637543"/>
            <a:ext cx="1627037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lnSpc>
                <a:spcPts val="2000"/>
              </a:lnSpc>
              <a:defRPr sz="1800" u="sng">
                <a:solidFill>
                  <a:srgbClr val="646464"/>
                </a:solidFill>
              </a:defRPr>
            </a:lvl1pPr>
          </a:lstStyle>
          <a:p>
            <a:pPr>
              <a:buClr>
                <a:srgbClr val="737373"/>
              </a:buClr>
            </a:pPr>
            <a:r>
              <a:rPr lang="en-GB" u="none" dirty="0"/>
              <a:t>Functional</a:t>
            </a:r>
          </a:p>
        </p:txBody>
      </p:sp>
      <p:cxnSp>
        <p:nvCxnSpPr>
          <p:cNvPr id="15" name="Gerade Verbindung 14"/>
          <p:cNvCxnSpPr/>
          <p:nvPr/>
        </p:nvCxnSpPr>
        <p:spPr bwMode="auto">
          <a:xfrm>
            <a:off x="13745694" y="-7491"/>
            <a:ext cx="0" cy="156494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Gerade Verbindung 15"/>
          <p:cNvCxnSpPr/>
          <p:nvPr/>
        </p:nvCxnSpPr>
        <p:spPr bwMode="auto">
          <a:xfrm>
            <a:off x="13745694" y="3149178"/>
            <a:ext cx="0" cy="1546102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Rectangle 9"/>
          <p:cNvSpPr>
            <a:spLocks noChangeArrowheads="1"/>
          </p:cNvSpPr>
          <p:nvPr/>
        </p:nvSpPr>
        <p:spPr bwMode="gray">
          <a:xfrm>
            <a:off x="-2178096" y="3706413"/>
            <a:ext cx="1678413" cy="442217"/>
          </a:xfrm>
          <a:prstGeom prst="rect">
            <a:avLst/>
          </a:prstGeom>
          <a:solidFill>
            <a:srgbClr val="C2E6FA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Blue 50%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194.230.250</a:t>
            </a:r>
          </a:p>
        </p:txBody>
      </p:sp>
      <p:sp>
        <p:nvSpPr>
          <p:cNvPr id="18" name="Rectangle 10"/>
          <p:cNvSpPr>
            <a:spLocks noChangeArrowheads="1"/>
          </p:cNvSpPr>
          <p:nvPr/>
        </p:nvSpPr>
        <p:spPr bwMode="gray">
          <a:xfrm>
            <a:off x="-2178096" y="4251196"/>
            <a:ext cx="1678413" cy="442217"/>
          </a:xfrm>
          <a:prstGeom prst="rect">
            <a:avLst/>
          </a:prstGeom>
          <a:solidFill>
            <a:srgbClr val="092A5E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TUI-Dark Blue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9.42.94</a:t>
            </a:r>
            <a:endParaRPr lang="en-GB" sz="1200" dirty="0">
              <a:solidFill>
                <a:srgbClr val="092A5E"/>
              </a:solidFill>
              <a:latin typeface="TUITypeLight"/>
              <a:cs typeface="Arial" pitchFamily="34" charset="0"/>
            </a:endParaRPr>
          </a:p>
        </p:txBody>
      </p:sp>
      <p:sp>
        <p:nvSpPr>
          <p:cNvPr id="19" name="Rectangle 8"/>
          <p:cNvSpPr>
            <a:spLocks noChangeArrowheads="1"/>
          </p:cNvSpPr>
          <p:nvPr/>
        </p:nvSpPr>
        <p:spPr bwMode="gray">
          <a:xfrm>
            <a:off x="-2178096" y="3161627"/>
            <a:ext cx="1678413" cy="442217"/>
          </a:xfrm>
          <a:prstGeom prst="rect">
            <a:avLst/>
          </a:prstGeom>
          <a:solidFill>
            <a:srgbClr val="70CBF4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</a:pPr>
            <a:r>
              <a:rPr lang="en-GB" sz="1200" dirty="0">
                <a:solidFill>
                  <a:srgbClr val="000000"/>
                </a:solidFill>
                <a:cs typeface="Arial" pitchFamily="34" charset="0"/>
              </a:rPr>
              <a:t>New TUI-Blue</a:t>
            </a:r>
          </a:p>
          <a:p>
            <a:pPr eaLnBrk="1" hangingPunct="1">
              <a:lnSpc>
                <a:spcPct val="100000"/>
              </a:lnSpc>
              <a:buClrTx/>
              <a:buSzTx/>
            </a:pPr>
            <a:r>
              <a:rPr lang="en-GB" sz="1200" dirty="0">
                <a:solidFill>
                  <a:srgbClr val="000000"/>
                </a:solidFill>
                <a:cs typeface="Arial" pitchFamily="34" charset="0"/>
              </a:rPr>
              <a:t>112.203.244</a:t>
            </a:r>
          </a:p>
        </p:txBody>
      </p:sp>
      <p:sp>
        <p:nvSpPr>
          <p:cNvPr id="21" name="Rectangle 21"/>
          <p:cNvSpPr>
            <a:spLocks noChangeArrowheads="1"/>
          </p:cNvSpPr>
          <p:nvPr/>
        </p:nvSpPr>
        <p:spPr bwMode="gray">
          <a:xfrm>
            <a:off x="12023276" y="527289"/>
            <a:ext cx="1678413" cy="442217"/>
          </a:xfrm>
          <a:prstGeom prst="rect">
            <a:avLst/>
          </a:prstGeom>
          <a:solidFill>
            <a:srgbClr val="AAD700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Green 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170.215.0</a:t>
            </a:r>
          </a:p>
        </p:txBody>
      </p:sp>
      <p:sp>
        <p:nvSpPr>
          <p:cNvPr id="22" name="Rectangle 8"/>
          <p:cNvSpPr>
            <a:spLocks noChangeArrowheads="1"/>
          </p:cNvSpPr>
          <p:nvPr/>
        </p:nvSpPr>
        <p:spPr bwMode="gray">
          <a:xfrm>
            <a:off x="12023276" y="1079233"/>
            <a:ext cx="1678413" cy="442217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TUI-Yellow 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255.225.0</a:t>
            </a:r>
          </a:p>
        </p:txBody>
      </p:sp>
      <p:sp>
        <p:nvSpPr>
          <p:cNvPr id="23" name="Rectangle 14"/>
          <p:cNvSpPr>
            <a:spLocks noChangeArrowheads="1"/>
          </p:cNvSpPr>
          <p:nvPr/>
        </p:nvSpPr>
        <p:spPr bwMode="gray">
          <a:xfrm>
            <a:off x="12023276" y="15664"/>
            <a:ext cx="1678413" cy="442217"/>
          </a:xfrm>
          <a:prstGeom prst="rect">
            <a:avLst/>
          </a:prstGeom>
          <a:solidFill>
            <a:srgbClr val="EF0000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TUI-Red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239.0.0</a:t>
            </a:r>
          </a:p>
        </p:txBody>
      </p:sp>
      <p:sp>
        <p:nvSpPr>
          <p:cNvPr id="24" name="Rectangle 6"/>
          <p:cNvSpPr>
            <a:spLocks noChangeArrowheads="1"/>
          </p:cNvSpPr>
          <p:nvPr/>
        </p:nvSpPr>
        <p:spPr bwMode="gray">
          <a:xfrm>
            <a:off x="12023276" y="4253061"/>
            <a:ext cx="1678413" cy="442217"/>
          </a:xfrm>
          <a:prstGeom prst="rect">
            <a:avLst/>
          </a:prstGeom>
          <a:solidFill>
            <a:srgbClr val="000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TUI-Black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0.0.0</a:t>
            </a:r>
            <a:endParaRPr lang="en-GB" sz="1200" dirty="0">
              <a:solidFill>
                <a:srgbClr val="092A5E"/>
              </a:solidFill>
              <a:latin typeface="TUITypeLight"/>
              <a:cs typeface="Arial" pitchFamily="34" charset="0"/>
            </a:endParaRPr>
          </a:p>
        </p:txBody>
      </p:sp>
      <p:sp>
        <p:nvSpPr>
          <p:cNvPr id="25" name="Rectangle 7"/>
          <p:cNvSpPr>
            <a:spLocks noChangeArrowheads="1"/>
          </p:cNvSpPr>
          <p:nvPr/>
        </p:nvSpPr>
        <p:spPr bwMode="gray">
          <a:xfrm>
            <a:off x="-2178096" y="4795981"/>
            <a:ext cx="1678413" cy="44221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TUI-White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255.255.255</a:t>
            </a:r>
          </a:p>
        </p:txBody>
      </p:sp>
      <p:sp>
        <p:nvSpPr>
          <p:cNvPr id="26" name="Rectangle 11"/>
          <p:cNvSpPr>
            <a:spLocks noChangeArrowheads="1"/>
          </p:cNvSpPr>
          <p:nvPr/>
        </p:nvSpPr>
        <p:spPr bwMode="gray">
          <a:xfrm>
            <a:off x="12022187" y="3701121"/>
            <a:ext cx="1678413" cy="44221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Grey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115.115.115</a:t>
            </a:r>
          </a:p>
        </p:txBody>
      </p:sp>
      <p:sp>
        <p:nvSpPr>
          <p:cNvPr id="27" name="Rectangle 8"/>
          <p:cNvSpPr>
            <a:spLocks noChangeArrowheads="1"/>
          </p:cNvSpPr>
          <p:nvPr/>
        </p:nvSpPr>
        <p:spPr bwMode="gray">
          <a:xfrm>
            <a:off x="12022187" y="3149177"/>
            <a:ext cx="1678413" cy="442217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Grey 25%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220.220.220</a:t>
            </a:r>
          </a:p>
        </p:txBody>
      </p:sp>
      <p:sp>
        <p:nvSpPr>
          <p:cNvPr id="28" name="Textfeld 27"/>
          <p:cNvSpPr txBox="1"/>
          <p:nvPr/>
        </p:nvSpPr>
        <p:spPr>
          <a:xfrm rot="5400000">
            <a:off x="13105178" y="3747825"/>
            <a:ext cx="1546100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lvl="0">
              <a:lnSpc>
                <a:spcPts val="2000"/>
              </a:lnSpc>
              <a:defRPr sz="1800" u="sng">
                <a:solidFill>
                  <a:srgbClr val="646464"/>
                </a:solidFill>
              </a:defRPr>
            </a:lvl1pPr>
          </a:lstStyle>
          <a:p>
            <a:pPr>
              <a:buClr>
                <a:srgbClr val="737373"/>
              </a:buClr>
            </a:pPr>
            <a:r>
              <a:rPr lang="en-GB" u="none" dirty="0"/>
              <a:t>Achromatic</a:t>
            </a:r>
          </a:p>
        </p:txBody>
      </p:sp>
    </p:spTree>
    <p:extLst>
      <p:ext uri="{BB962C8B-B14F-4D97-AF65-F5344CB8AC3E}">
        <p14:creationId xmlns:p14="http://schemas.microsoft.com/office/powerpoint/2010/main" val="2522620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46" r:id="rId9"/>
  </p:sldLayoutIdLst>
  <p:transition/>
  <p:hf sldNum="0" hdr="0" dt="0"/>
  <p:txStyles>
    <p:titleStyle>
      <a:lvl1pPr algn="l" defTabSz="282575" rtl="0" eaLnBrk="1" fontAlgn="base" hangingPunct="1">
        <a:lnSpc>
          <a:spcPct val="95000"/>
        </a:lnSpc>
        <a:spcBef>
          <a:spcPct val="0"/>
        </a:spcBef>
        <a:spcAft>
          <a:spcPct val="0"/>
        </a:spcAft>
        <a:tabLst>
          <a:tab pos="282575" algn="l"/>
        </a:tabLst>
        <a:defRPr sz="2400" b="0" cap="none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2pPr>
      <a:lvl3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3pPr>
      <a:lvl4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4pPr>
      <a:lvl5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5pPr>
      <a:lvl6pPr marL="4572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6pPr>
      <a:lvl7pPr marL="9144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7pPr>
      <a:lvl8pPr marL="13716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8pPr>
      <a:lvl9pPr marL="18288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9pPr>
    </p:titleStyle>
    <p:bodyStyle>
      <a:lvl1pPr marL="176213" indent="-176213" algn="l" defTabSz="1425575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67450" algn="l"/>
        </a:tabLs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1425575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400">
          <a:solidFill>
            <a:schemeClr val="tx1"/>
          </a:solidFill>
          <a:latin typeface="+mn-lt"/>
        </a:defRPr>
      </a:lvl2pPr>
      <a:lvl3pPr marL="538163" indent="-180975" algn="l" defTabSz="1425575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400">
          <a:solidFill>
            <a:schemeClr val="tx1"/>
          </a:solidFill>
          <a:latin typeface="+mn-lt"/>
        </a:defRPr>
      </a:lvl3pPr>
      <a:lvl4pPr marL="717550" indent="-176213" algn="l" defTabSz="1425575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808038" algn="l"/>
          <a:tab pos="898525" algn="l"/>
          <a:tab pos="2085975" algn="l"/>
          <a:tab pos="4171950" algn="l"/>
          <a:tab pos="6257925" algn="l"/>
        </a:tabLst>
        <a:defRPr sz="1400">
          <a:solidFill>
            <a:schemeClr val="tx1"/>
          </a:solidFill>
          <a:latin typeface="+mn-lt"/>
        </a:defRPr>
      </a:lvl4pPr>
      <a:lvl5pPr marL="898525" indent="-180975" algn="l" defTabSz="1425575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400">
          <a:solidFill>
            <a:schemeClr val="tx1"/>
          </a:solidFill>
          <a:latin typeface="+mn-lt"/>
        </a:defRPr>
      </a:lvl5pPr>
      <a:lvl6pPr marL="31242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6pPr>
      <a:lvl7pPr marL="35814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7pPr>
      <a:lvl8pPr marL="40386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8pPr>
      <a:lvl9pPr marL="44958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 userDrawn="1">
          <p15:clr>
            <a:srgbClr val="F26B43"/>
          </p15:clr>
        </p15:guide>
        <p15:guide id="2" orient="horz" pos="3612" userDrawn="1">
          <p15:clr>
            <a:srgbClr val="F26B43"/>
          </p15:clr>
        </p15:guide>
        <p15:guide id="3" pos="5443" userDrawn="1">
          <p15:clr>
            <a:srgbClr val="F26B43"/>
          </p15:clr>
        </p15:guide>
        <p15:guide id="4" pos="31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/>
          <p:nvPr/>
        </p:nvSpPr>
        <p:spPr bwMode="auto">
          <a:xfrm>
            <a:off x="251905" y="5760572"/>
            <a:ext cx="11018266" cy="46782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sp>
        <p:nvSpPr>
          <p:cNvPr id="70769" name="Rectangle 113"/>
          <p:cNvSpPr>
            <a:spLocks noGrp="1" noChangeArrowheads="1"/>
          </p:cNvSpPr>
          <p:nvPr>
            <p:ph type="title"/>
          </p:nvPr>
        </p:nvSpPr>
        <p:spPr bwMode="gray">
          <a:xfrm>
            <a:off x="504829" y="325195"/>
            <a:ext cx="10512425" cy="755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20" name="Rectangle 176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705600" y="6002426"/>
            <a:ext cx="8412670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>
              <a:lnSpc>
                <a:spcPct val="95000"/>
              </a:lnSpc>
              <a:buClrTx/>
              <a:buSzTx/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504829" y="1399382"/>
            <a:ext cx="10512425" cy="39637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504826" y="6002426"/>
            <a:ext cx="271236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>
              <a:buClrTx/>
              <a:buSzTx/>
              <a:buFontTx/>
              <a:buNone/>
              <a:defRPr sz="800"/>
            </a:lvl1pPr>
          </a:lstStyle>
          <a:p>
            <a:fld id="{BF68F70B-AC95-45BE-AEB8-15EAB33A653A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4410" y="5859036"/>
            <a:ext cx="338572" cy="270904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 rot="16200000">
            <a:off x="-2666942" y="4192039"/>
            <a:ext cx="1577228" cy="3488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000"/>
              </a:lnSpc>
              <a:buClr>
                <a:srgbClr val="737373"/>
              </a:buClr>
            </a:pPr>
            <a:r>
              <a:rPr lang="en-GB" sz="1800" dirty="0">
                <a:solidFill>
                  <a:srgbClr val="646464"/>
                </a:solidFill>
              </a:rPr>
              <a:t>Primary colours</a:t>
            </a:r>
          </a:p>
        </p:txBody>
      </p:sp>
      <p:cxnSp>
        <p:nvCxnSpPr>
          <p:cNvPr id="9" name="Gerade Verbindung 8"/>
          <p:cNvCxnSpPr/>
          <p:nvPr/>
        </p:nvCxnSpPr>
        <p:spPr bwMode="auto">
          <a:xfrm>
            <a:off x="-1776241" y="3331160"/>
            <a:ext cx="0" cy="2209736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ctangle 4"/>
          <p:cNvSpPr>
            <a:spLocks noChangeArrowheads="1"/>
          </p:cNvSpPr>
          <p:nvPr/>
        </p:nvSpPr>
        <p:spPr bwMode="gray">
          <a:xfrm>
            <a:off x="-1708310" y="44605"/>
            <a:ext cx="1262239" cy="2447045"/>
          </a:xfrm>
          <a:prstGeom prst="rect">
            <a:avLst/>
          </a:prstGeom>
          <a:solidFill>
            <a:schemeClr val="bg1"/>
          </a:solidFill>
          <a:ln w="19050">
            <a:solidFill>
              <a:srgbClr val="DFDFD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36000" rIns="36000" bIns="36000" anchor="ctr">
            <a:noAutofit/>
          </a:bodyPr>
          <a:lstStyle/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Always use TUITypeLight</a:t>
            </a: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Font size14pt</a:t>
            </a: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Line spacing 6 pt</a:t>
            </a: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titles in TUI-Dark Blue</a:t>
            </a: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Bullet points &amp; standard text in TUI-Dark Blue</a:t>
            </a:r>
          </a:p>
        </p:txBody>
      </p:sp>
      <p:cxnSp>
        <p:nvCxnSpPr>
          <p:cNvPr id="11" name="Gerade Verbindung 50"/>
          <p:cNvCxnSpPr/>
          <p:nvPr/>
        </p:nvCxnSpPr>
        <p:spPr bwMode="auto">
          <a:xfrm>
            <a:off x="-1776241" y="30974"/>
            <a:ext cx="0" cy="2447045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extfeld 45"/>
          <p:cNvSpPr txBox="1"/>
          <p:nvPr/>
        </p:nvSpPr>
        <p:spPr>
          <a:xfrm rot="16200000">
            <a:off x="-3101851" y="1093750"/>
            <a:ext cx="2447046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  <a:buClr>
                <a:srgbClr val="737373"/>
              </a:buClr>
            </a:pPr>
            <a:r>
              <a:rPr lang="en-GB" sz="1800" dirty="0">
                <a:solidFill>
                  <a:srgbClr val="646464"/>
                </a:solidFill>
              </a:rPr>
              <a:t>Conventions</a:t>
            </a:r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gray">
          <a:xfrm>
            <a:off x="-1728548" y="3920592"/>
            <a:ext cx="1332001" cy="467771"/>
          </a:xfrm>
          <a:prstGeom prst="rect">
            <a:avLst/>
          </a:prstGeom>
          <a:solidFill>
            <a:srgbClr val="C2E6FA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Blue 50%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194.230.250</a:t>
            </a:r>
          </a:p>
        </p:txBody>
      </p:sp>
      <p:sp>
        <p:nvSpPr>
          <p:cNvPr id="14" name="Rectangle 10"/>
          <p:cNvSpPr>
            <a:spLocks noChangeArrowheads="1"/>
          </p:cNvSpPr>
          <p:nvPr/>
        </p:nvSpPr>
        <p:spPr bwMode="gray">
          <a:xfrm>
            <a:off x="-1728548" y="4496858"/>
            <a:ext cx="1332001" cy="467771"/>
          </a:xfrm>
          <a:prstGeom prst="rect">
            <a:avLst/>
          </a:prstGeom>
          <a:solidFill>
            <a:srgbClr val="092A5E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TUI-Dark Blue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9.42.94</a:t>
            </a:r>
            <a:endParaRPr lang="en-GB" sz="1200" dirty="0">
              <a:solidFill>
                <a:srgbClr val="092A5E"/>
              </a:solidFill>
              <a:latin typeface="TUITypeLight"/>
              <a:cs typeface="Arial" pitchFamily="34" charset="0"/>
            </a:endParaRPr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gray">
          <a:xfrm>
            <a:off x="-1728548" y="3344327"/>
            <a:ext cx="1332001" cy="467771"/>
          </a:xfrm>
          <a:prstGeom prst="rect">
            <a:avLst/>
          </a:prstGeom>
          <a:solidFill>
            <a:srgbClr val="70CBF4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</a:pPr>
            <a:r>
              <a:rPr lang="en-GB" sz="1200" dirty="0">
                <a:solidFill>
                  <a:srgbClr val="000000"/>
                </a:solidFill>
                <a:cs typeface="Arial" pitchFamily="34" charset="0"/>
              </a:rPr>
              <a:t>New TUI-Blue</a:t>
            </a:r>
          </a:p>
          <a:p>
            <a:pPr eaLnBrk="1" hangingPunct="1">
              <a:lnSpc>
                <a:spcPct val="100000"/>
              </a:lnSpc>
              <a:buClrTx/>
              <a:buSzTx/>
            </a:pPr>
            <a:r>
              <a:rPr lang="en-GB" sz="1200" dirty="0">
                <a:solidFill>
                  <a:srgbClr val="000000"/>
                </a:solidFill>
                <a:cs typeface="Arial" pitchFamily="34" charset="0"/>
              </a:rPr>
              <a:t>112.203.244</a:t>
            </a:r>
          </a:p>
        </p:txBody>
      </p:sp>
      <p:sp>
        <p:nvSpPr>
          <p:cNvPr id="16" name="Rectangle 7"/>
          <p:cNvSpPr>
            <a:spLocks noChangeArrowheads="1"/>
          </p:cNvSpPr>
          <p:nvPr/>
        </p:nvSpPr>
        <p:spPr bwMode="gray">
          <a:xfrm>
            <a:off x="-1728548" y="5073123"/>
            <a:ext cx="1332001" cy="46777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TUI-White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255.255.255</a:t>
            </a:r>
          </a:p>
        </p:txBody>
      </p:sp>
      <p:sp>
        <p:nvSpPr>
          <p:cNvPr id="17" name="Textfeld 16"/>
          <p:cNvSpPr txBox="1"/>
          <p:nvPr/>
        </p:nvSpPr>
        <p:spPr>
          <a:xfrm rot="5400000">
            <a:off x="12466963" y="684462"/>
            <a:ext cx="1721058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lnSpc>
                <a:spcPts val="2000"/>
              </a:lnSpc>
              <a:defRPr sz="1800" u="sng">
                <a:solidFill>
                  <a:srgbClr val="646464"/>
                </a:solidFill>
              </a:defRPr>
            </a:lvl1pPr>
          </a:lstStyle>
          <a:p>
            <a:pPr>
              <a:buClr>
                <a:srgbClr val="737373"/>
              </a:buClr>
            </a:pPr>
            <a:r>
              <a:rPr lang="en-GB" u="none" dirty="0"/>
              <a:t>Functional</a:t>
            </a:r>
          </a:p>
        </p:txBody>
      </p:sp>
      <p:cxnSp>
        <p:nvCxnSpPr>
          <p:cNvPr id="18" name="Gerade Verbindung 17"/>
          <p:cNvCxnSpPr/>
          <p:nvPr/>
        </p:nvCxnSpPr>
        <p:spPr bwMode="auto">
          <a:xfrm>
            <a:off x="13222308" y="-7922"/>
            <a:ext cx="0" cy="1655373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rade Verbindung 18"/>
          <p:cNvCxnSpPr/>
          <p:nvPr/>
        </p:nvCxnSpPr>
        <p:spPr bwMode="auto">
          <a:xfrm>
            <a:off x="13222308" y="3331159"/>
            <a:ext cx="0" cy="1635446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Rectangle 21"/>
          <p:cNvSpPr>
            <a:spLocks noChangeArrowheads="1"/>
          </p:cNvSpPr>
          <p:nvPr/>
        </p:nvSpPr>
        <p:spPr bwMode="gray">
          <a:xfrm>
            <a:off x="11855389" y="557760"/>
            <a:ext cx="1332001" cy="467771"/>
          </a:xfrm>
          <a:prstGeom prst="rect">
            <a:avLst/>
          </a:prstGeom>
          <a:solidFill>
            <a:srgbClr val="AAD700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Green 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170.215.0</a:t>
            </a:r>
          </a:p>
        </p:txBody>
      </p:sp>
      <p:sp>
        <p:nvSpPr>
          <p:cNvPr id="24" name="Rectangle 8"/>
          <p:cNvSpPr>
            <a:spLocks noChangeArrowheads="1"/>
          </p:cNvSpPr>
          <p:nvPr/>
        </p:nvSpPr>
        <p:spPr bwMode="gray">
          <a:xfrm>
            <a:off x="11855389" y="1141596"/>
            <a:ext cx="1332001" cy="467771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TUI-Yellow 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255.225.0</a:t>
            </a:r>
          </a:p>
        </p:txBody>
      </p:sp>
      <p:sp>
        <p:nvSpPr>
          <p:cNvPr id="25" name="Rectangle 14"/>
          <p:cNvSpPr>
            <a:spLocks noChangeArrowheads="1"/>
          </p:cNvSpPr>
          <p:nvPr/>
        </p:nvSpPr>
        <p:spPr bwMode="gray">
          <a:xfrm>
            <a:off x="11855389" y="16567"/>
            <a:ext cx="1332001" cy="467771"/>
          </a:xfrm>
          <a:prstGeom prst="rect">
            <a:avLst/>
          </a:prstGeom>
          <a:solidFill>
            <a:srgbClr val="EF0000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TUI-Red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239.0.0</a:t>
            </a:r>
          </a:p>
        </p:txBody>
      </p:sp>
      <p:sp>
        <p:nvSpPr>
          <p:cNvPr id="26" name="Rectangle 6"/>
          <p:cNvSpPr>
            <a:spLocks noChangeArrowheads="1"/>
          </p:cNvSpPr>
          <p:nvPr/>
        </p:nvSpPr>
        <p:spPr bwMode="gray">
          <a:xfrm>
            <a:off x="11855389" y="4498831"/>
            <a:ext cx="1332001" cy="467771"/>
          </a:xfrm>
          <a:prstGeom prst="rect">
            <a:avLst/>
          </a:prstGeom>
          <a:solidFill>
            <a:srgbClr val="000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TUI-Black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0.0.0</a:t>
            </a:r>
            <a:endParaRPr lang="en-GB" sz="1200" dirty="0">
              <a:solidFill>
                <a:srgbClr val="092A5E"/>
              </a:solidFill>
              <a:latin typeface="TUITypeLight"/>
              <a:cs typeface="Arial" pitchFamily="34" charset="0"/>
            </a:endParaRPr>
          </a:p>
        </p:txBody>
      </p:sp>
      <p:sp>
        <p:nvSpPr>
          <p:cNvPr id="27" name="Rectangle 11"/>
          <p:cNvSpPr>
            <a:spLocks noChangeArrowheads="1"/>
          </p:cNvSpPr>
          <p:nvPr/>
        </p:nvSpPr>
        <p:spPr bwMode="gray">
          <a:xfrm>
            <a:off x="11854525" y="3914994"/>
            <a:ext cx="1332001" cy="4677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Grey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115.115.115</a:t>
            </a:r>
          </a:p>
        </p:txBody>
      </p:sp>
      <p:sp>
        <p:nvSpPr>
          <p:cNvPr id="28" name="Rectangle 8"/>
          <p:cNvSpPr>
            <a:spLocks noChangeArrowheads="1"/>
          </p:cNvSpPr>
          <p:nvPr/>
        </p:nvSpPr>
        <p:spPr bwMode="gray">
          <a:xfrm>
            <a:off x="11854525" y="3331157"/>
            <a:ext cx="1332001" cy="467771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Grey 25%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220.220.220</a:t>
            </a:r>
          </a:p>
        </p:txBody>
      </p:sp>
      <p:sp>
        <p:nvSpPr>
          <p:cNvPr id="29" name="Textfeld 28"/>
          <p:cNvSpPr txBox="1"/>
          <p:nvPr/>
        </p:nvSpPr>
        <p:spPr>
          <a:xfrm rot="5400000">
            <a:off x="12509769" y="3974480"/>
            <a:ext cx="1635445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lvl="0">
              <a:lnSpc>
                <a:spcPts val="2000"/>
              </a:lnSpc>
              <a:defRPr sz="1800" u="sng">
                <a:solidFill>
                  <a:srgbClr val="646464"/>
                </a:solidFill>
              </a:defRPr>
            </a:lvl1pPr>
          </a:lstStyle>
          <a:p>
            <a:pPr>
              <a:buClr>
                <a:srgbClr val="737373"/>
              </a:buClr>
            </a:pPr>
            <a:r>
              <a:rPr lang="en-GB" u="none" dirty="0"/>
              <a:t>Achromatic</a:t>
            </a:r>
          </a:p>
        </p:txBody>
      </p:sp>
    </p:spTree>
    <p:extLst>
      <p:ext uri="{BB962C8B-B14F-4D97-AF65-F5344CB8AC3E}">
        <p14:creationId xmlns:p14="http://schemas.microsoft.com/office/powerpoint/2010/main" val="2910268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</p:sldLayoutIdLst>
  <p:transition/>
  <p:hf sldNum="0" hdr="0" dt="0"/>
  <p:txStyles>
    <p:titleStyle>
      <a:lvl1pPr algn="l" defTabSz="282575" rtl="0" eaLnBrk="1" fontAlgn="base" hangingPunct="1">
        <a:lnSpc>
          <a:spcPct val="95000"/>
        </a:lnSpc>
        <a:spcBef>
          <a:spcPct val="0"/>
        </a:spcBef>
        <a:spcAft>
          <a:spcPct val="0"/>
        </a:spcAft>
        <a:tabLst>
          <a:tab pos="282575" algn="l"/>
        </a:tabLst>
        <a:defRPr sz="2400" b="0" cap="none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2pPr>
      <a:lvl3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3pPr>
      <a:lvl4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4pPr>
      <a:lvl5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5pPr>
      <a:lvl6pPr marL="4572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6pPr>
      <a:lvl7pPr marL="9144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7pPr>
      <a:lvl8pPr marL="13716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8pPr>
      <a:lvl9pPr marL="18288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9pPr>
    </p:titleStyle>
    <p:bodyStyle>
      <a:lvl1pPr marL="266700" indent="-266700" algn="l" defTabSz="1425575" rtl="0" eaLnBrk="1" fontAlgn="base" hangingPunct="1">
        <a:lnSpc>
          <a:spcPct val="95000"/>
        </a:lnSpc>
        <a:spcBef>
          <a:spcPts val="5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66700" algn="l"/>
          <a:tab pos="2085975" algn="l"/>
          <a:tab pos="4171950" algn="l"/>
          <a:tab pos="6267450" algn="l"/>
        </a:tabLst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542925" indent="-276225" algn="l" defTabSz="1425575" rtl="0" eaLnBrk="1" fontAlgn="base" hangingPunct="1">
        <a:lnSpc>
          <a:spcPct val="95000"/>
        </a:lnSpc>
        <a:spcBef>
          <a:spcPts val="5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800">
          <a:solidFill>
            <a:schemeClr val="tx1"/>
          </a:solidFill>
          <a:latin typeface="+mn-lt"/>
        </a:defRPr>
      </a:lvl2pPr>
      <a:lvl3pPr marL="809625" indent="-266700" algn="l" defTabSz="1425575" rtl="0" eaLnBrk="1" fontAlgn="base" hangingPunct="1">
        <a:lnSpc>
          <a:spcPct val="95000"/>
        </a:lnSpc>
        <a:spcBef>
          <a:spcPts val="5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800">
          <a:solidFill>
            <a:schemeClr val="tx1"/>
          </a:solidFill>
          <a:latin typeface="+mn-lt"/>
        </a:defRPr>
      </a:lvl3pPr>
      <a:lvl4pPr marL="1076325" indent="-266700" algn="l" defTabSz="1425575" rtl="0" eaLnBrk="1" fontAlgn="base" hangingPunct="1">
        <a:lnSpc>
          <a:spcPct val="95000"/>
        </a:lnSpc>
        <a:spcBef>
          <a:spcPts val="5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800">
          <a:solidFill>
            <a:schemeClr val="tx1"/>
          </a:solidFill>
          <a:latin typeface="+mn-lt"/>
        </a:defRPr>
      </a:lvl4pPr>
      <a:lvl5pPr marL="1343025" indent="-266700" algn="l" defTabSz="1425575" rtl="0" eaLnBrk="1" fontAlgn="base" hangingPunct="1">
        <a:lnSpc>
          <a:spcPct val="95000"/>
        </a:lnSpc>
        <a:spcBef>
          <a:spcPts val="5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800">
          <a:solidFill>
            <a:schemeClr val="tx1"/>
          </a:solidFill>
          <a:latin typeface="+mn-lt"/>
        </a:defRPr>
      </a:lvl5pPr>
      <a:lvl6pPr marL="31242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6pPr>
      <a:lvl7pPr marL="35814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7pPr>
      <a:lvl8pPr marL="40386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8pPr>
      <a:lvl9pPr marL="44958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85" userDrawn="1">
          <p15:clr>
            <a:srgbClr val="F26B43"/>
          </p15:clr>
        </p15:guide>
        <p15:guide id="2" orient="horz" pos="3380" userDrawn="1">
          <p15:clr>
            <a:srgbClr val="F26B43"/>
          </p15:clr>
        </p15:guide>
        <p15:guide id="3" pos="318" userDrawn="1">
          <p15:clr>
            <a:srgbClr val="F26B43"/>
          </p15:clr>
        </p15:guide>
        <p15:guide id="4" pos="694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/>
          <p:nvPr/>
        </p:nvSpPr>
        <p:spPr bwMode="auto">
          <a:xfrm>
            <a:off x="251905" y="5760572"/>
            <a:ext cx="11018266" cy="46782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sp>
        <p:nvSpPr>
          <p:cNvPr id="70769" name="Rectangle 113"/>
          <p:cNvSpPr>
            <a:spLocks noGrp="1" noChangeArrowheads="1"/>
          </p:cNvSpPr>
          <p:nvPr>
            <p:ph type="title"/>
          </p:nvPr>
        </p:nvSpPr>
        <p:spPr bwMode="gray">
          <a:xfrm>
            <a:off x="504825" y="325192"/>
            <a:ext cx="10512425" cy="755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20" name="Rectangle 176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705600" y="6002426"/>
            <a:ext cx="8412670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>
              <a:lnSpc>
                <a:spcPct val="95000"/>
              </a:lnSpc>
              <a:buClrTx/>
              <a:buSzTx/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504825" y="1399380"/>
            <a:ext cx="10512425" cy="39637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504826" y="6002426"/>
            <a:ext cx="271236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>
              <a:buClrTx/>
              <a:buSzTx/>
              <a:buFontTx/>
              <a:buNone/>
              <a:defRPr sz="800"/>
            </a:lvl1pPr>
          </a:lstStyle>
          <a:p>
            <a:fld id="{BF68F70B-AC95-45BE-AEB8-15EAB33A653A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4410" y="5859032"/>
            <a:ext cx="338572" cy="270904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 rot="16200000">
            <a:off x="-2666942" y="4192034"/>
            <a:ext cx="1577228" cy="3488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000"/>
              </a:lnSpc>
              <a:buClr>
                <a:srgbClr val="737373"/>
              </a:buClr>
            </a:pPr>
            <a:r>
              <a:rPr lang="en-GB" sz="1800" dirty="0">
                <a:solidFill>
                  <a:srgbClr val="646464"/>
                </a:solidFill>
              </a:rPr>
              <a:t>Primary colours</a:t>
            </a:r>
          </a:p>
        </p:txBody>
      </p:sp>
      <p:cxnSp>
        <p:nvCxnSpPr>
          <p:cNvPr id="9" name="Gerade Verbindung 8"/>
          <p:cNvCxnSpPr/>
          <p:nvPr/>
        </p:nvCxnSpPr>
        <p:spPr bwMode="auto">
          <a:xfrm>
            <a:off x="-1776241" y="3331158"/>
            <a:ext cx="0" cy="2209736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ctangle 4"/>
          <p:cNvSpPr>
            <a:spLocks noChangeArrowheads="1"/>
          </p:cNvSpPr>
          <p:nvPr/>
        </p:nvSpPr>
        <p:spPr bwMode="gray">
          <a:xfrm>
            <a:off x="-1708310" y="44603"/>
            <a:ext cx="1262239" cy="2447045"/>
          </a:xfrm>
          <a:prstGeom prst="rect">
            <a:avLst/>
          </a:prstGeom>
          <a:solidFill>
            <a:schemeClr val="bg1"/>
          </a:solidFill>
          <a:ln w="19050">
            <a:solidFill>
              <a:srgbClr val="DFDFD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36000" rIns="36000" bIns="36000" anchor="ctr">
            <a:noAutofit/>
          </a:bodyPr>
          <a:lstStyle/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Always use </a:t>
            </a:r>
            <a:r>
              <a:rPr lang="en-GB" sz="1200" kern="0" dirty="0" err="1">
                <a:solidFill>
                  <a:srgbClr val="646464"/>
                </a:solidFill>
                <a:latin typeface="TUIType"/>
              </a:rPr>
              <a:t>TUITypeLight</a:t>
            </a:r>
            <a:endParaRPr lang="en-GB" sz="1200" kern="0" dirty="0">
              <a:solidFill>
                <a:srgbClr val="646464"/>
              </a:solidFill>
              <a:latin typeface="TUIType"/>
            </a:endParaRP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Font size14pt</a:t>
            </a: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Line spacing 6 </a:t>
            </a:r>
            <a:r>
              <a:rPr lang="en-GB" sz="1200" kern="0" dirty="0" err="1">
                <a:solidFill>
                  <a:srgbClr val="646464"/>
                </a:solidFill>
                <a:latin typeface="TUIType"/>
              </a:rPr>
              <a:t>pt</a:t>
            </a:r>
            <a:endParaRPr lang="en-GB" sz="1200" kern="0" dirty="0">
              <a:solidFill>
                <a:srgbClr val="646464"/>
              </a:solidFill>
              <a:latin typeface="TUIType"/>
            </a:endParaRP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titles in TUI-Dark Blue</a:t>
            </a: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Bullet points &amp; standard text in TUI-Dark Blue</a:t>
            </a:r>
          </a:p>
        </p:txBody>
      </p:sp>
      <p:cxnSp>
        <p:nvCxnSpPr>
          <p:cNvPr id="11" name="Gerade Verbindung 50"/>
          <p:cNvCxnSpPr/>
          <p:nvPr/>
        </p:nvCxnSpPr>
        <p:spPr bwMode="auto">
          <a:xfrm>
            <a:off x="-1776241" y="30972"/>
            <a:ext cx="0" cy="2447045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extfeld 45"/>
          <p:cNvSpPr txBox="1"/>
          <p:nvPr/>
        </p:nvSpPr>
        <p:spPr>
          <a:xfrm rot="16200000">
            <a:off x="-3101851" y="1093747"/>
            <a:ext cx="2447046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  <a:buClr>
                <a:srgbClr val="737373"/>
              </a:buClr>
            </a:pPr>
            <a:r>
              <a:rPr lang="en-GB" sz="1800" dirty="0">
                <a:solidFill>
                  <a:srgbClr val="646464"/>
                </a:solidFill>
              </a:rPr>
              <a:t>Conventions</a:t>
            </a:r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gray">
          <a:xfrm>
            <a:off x="-1728552" y="3920592"/>
            <a:ext cx="1332001" cy="467771"/>
          </a:xfrm>
          <a:prstGeom prst="rect">
            <a:avLst/>
          </a:prstGeom>
          <a:solidFill>
            <a:srgbClr val="C2E6FA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Blue 50%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194.230.250</a:t>
            </a:r>
          </a:p>
        </p:txBody>
      </p:sp>
      <p:sp>
        <p:nvSpPr>
          <p:cNvPr id="14" name="Rectangle 10"/>
          <p:cNvSpPr>
            <a:spLocks noChangeArrowheads="1"/>
          </p:cNvSpPr>
          <p:nvPr/>
        </p:nvSpPr>
        <p:spPr bwMode="gray">
          <a:xfrm>
            <a:off x="-1728552" y="4496858"/>
            <a:ext cx="1332001" cy="467771"/>
          </a:xfrm>
          <a:prstGeom prst="rect">
            <a:avLst/>
          </a:prstGeom>
          <a:solidFill>
            <a:srgbClr val="092A5E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TUI-Dark Blue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9.42.94</a:t>
            </a:r>
            <a:endParaRPr lang="en-GB" sz="1200" dirty="0">
              <a:solidFill>
                <a:srgbClr val="092A5E"/>
              </a:solidFill>
              <a:latin typeface="TUITypeLight"/>
              <a:cs typeface="Arial" pitchFamily="34" charset="0"/>
            </a:endParaRPr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gray">
          <a:xfrm>
            <a:off x="-1728552" y="3344327"/>
            <a:ext cx="1332001" cy="467771"/>
          </a:xfrm>
          <a:prstGeom prst="rect">
            <a:avLst/>
          </a:prstGeom>
          <a:solidFill>
            <a:srgbClr val="70CBF4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</a:pPr>
            <a:r>
              <a:rPr lang="en-GB" sz="1200" dirty="0">
                <a:solidFill>
                  <a:srgbClr val="000000"/>
                </a:solidFill>
                <a:cs typeface="Arial" pitchFamily="34" charset="0"/>
              </a:rPr>
              <a:t>New TUI-Blue</a:t>
            </a:r>
          </a:p>
          <a:p>
            <a:pPr eaLnBrk="1" hangingPunct="1">
              <a:lnSpc>
                <a:spcPct val="100000"/>
              </a:lnSpc>
              <a:buClrTx/>
              <a:buSzTx/>
            </a:pPr>
            <a:r>
              <a:rPr lang="en-GB" sz="1200" dirty="0">
                <a:solidFill>
                  <a:srgbClr val="000000"/>
                </a:solidFill>
                <a:cs typeface="Arial" pitchFamily="34" charset="0"/>
              </a:rPr>
              <a:t>112.203.244</a:t>
            </a:r>
          </a:p>
        </p:txBody>
      </p:sp>
      <p:sp>
        <p:nvSpPr>
          <p:cNvPr id="16" name="Rectangle 7"/>
          <p:cNvSpPr>
            <a:spLocks noChangeArrowheads="1"/>
          </p:cNvSpPr>
          <p:nvPr/>
        </p:nvSpPr>
        <p:spPr bwMode="gray">
          <a:xfrm>
            <a:off x="-1728552" y="5073123"/>
            <a:ext cx="1332001" cy="46777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TUI-White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255.255.255</a:t>
            </a:r>
          </a:p>
        </p:txBody>
      </p:sp>
      <p:sp>
        <p:nvSpPr>
          <p:cNvPr id="17" name="Textfeld 16"/>
          <p:cNvSpPr txBox="1"/>
          <p:nvPr/>
        </p:nvSpPr>
        <p:spPr>
          <a:xfrm rot="5400000">
            <a:off x="12466963" y="684460"/>
            <a:ext cx="1721058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lnSpc>
                <a:spcPts val="2000"/>
              </a:lnSpc>
              <a:defRPr sz="1800" u="sng">
                <a:solidFill>
                  <a:srgbClr val="646464"/>
                </a:solidFill>
              </a:defRPr>
            </a:lvl1pPr>
          </a:lstStyle>
          <a:p>
            <a:pPr>
              <a:buClr>
                <a:srgbClr val="737373"/>
              </a:buClr>
            </a:pPr>
            <a:r>
              <a:rPr lang="en-GB" u="none" dirty="0"/>
              <a:t>Functional</a:t>
            </a:r>
          </a:p>
        </p:txBody>
      </p:sp>
      <p:cxnSp>
        <p:nvCxnSpPr>
          <p:cNvPr id="18" name="Gerade Verbindung 17"/>
          <p:cNvCxnSpPr/>
          <p:nvPr/>
        </p:nvCxnSpPr>
        <p:spPr bwMode="auto">
          <a:xfrm>
            <a:off x="13222308" y="-7924"/>
            <a:ext cx="0" cy="1655373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rade Verbindung 18"/>
          <p:cNvCxnSpPr/>
          <p:nvPr/>
        </p:nvCxnSpPr>
        <p:spPr bwMode="auto">
          <a:xfrm>
            <a:off x="13222308" y="3331157"/>
            <a:ext cx="0" cy="1635446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Rectangle 21"/>
          <p:cNvSpPr>
            <a:spLocks noChangeArrowheads="1"/>
          </p:cNvSpPr>
          <p:nvPr/>
        </p:nvSpPr>
        <p:spPr bwMode="gray">
          <a:xfrm>
            <a:off x="11855385" y="557760"/>
            <a:ext cx="1332001" cy="467771"/>
          </a:xfrm>
          <a:prstGeom prst="rect">
            <a:avLst/>
          </a:prstGeom>
          <a:solidFill>
            <a:srgbClr val="AAD700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Green 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170.215.0</a:t>
            </a:r>
          </a:p>
        </p:txBody>
      </p:sp>
      <p:sp>
        <p:nvSpPr>
          <p:cNvPr id="24" name="Rectangle 8"/>
          <p:cNvSpPr>
            <a:spLocks noChangeArrowheads="1"/>
          </p:cNvSpPr>
          <p:nvPr/>
        </p:nvSpPr>
        <p:spPr bwMode="gray">
          <a:xfrm>
            <a:off x="11855385" y="1141596"/>
            <a:ext cx="1332001" cy="467771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TUI-Yellow 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255.225.0</a:t>
            </a:r>
          </a:p>
        </p:txBody>
      </p:sp>
      <p:sp>
        <p:nvSpPr>
          <p:cNvPr id="25" name="Rectangle 14"/>
          <p:cNvSpPr>
            <a:spLocks noChangeArrowheads="1"/>
          </p:cNvSpPr>
          <p:nvPr/>
        </p:nvSpPr>
        <p:spPr bwMode="gray">
          <a:xfrm>
            <a:off x="11855385" y="16567"/>
            <a:ext cx="1332001" cy="467771"/>
          </a:xfrm>
          <a:prstGeom prst="rect">
            <a:avLst/>
          </a:prstGeom>
          <a:solidFill>
            <a:srgbClr val="EF0000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TUI-Red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239.0.0</a:t>
            </a:r>
          </a:p>
        </p:txBody>
      </p:sp>
      <p:sp>
        <p:nvSpPr>
          <p:cNvPr id="26" name="Rectangle 6"/>
          <p:cNvSpPr>
            <a:spLocks noChangeArrowheads="1"/>
          </p:cNvSpPr>
          <p:nvPr/>
        </p:nvSpPr>
        <p:spPr bwMode="gray">
          <a:xfrm>
            <a:off x="11855385" y="4498831"/>
            <a:ext cx="1332001" cy="467771"/>
          </a:xfrm>
          <a:prstGeom prst="rect">
            <a:avLst/>
          </a:prstGeom>
          <a:solidFill>
            <a:srgbClr val="000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TUI-Black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0.0.0</a:t>
            </a:r>
            <a:endParaRPr lang="en-GB" sz="1200" dirty="0">
              <a:solidFill>
                <a:srgbClr val="092A5E"/>
              </a:solidFill>
              <a:latin typeface="TUITypeLight"/>
              <a:cs typeface="Arial" pitchFamily="34" charset="0"/>
            </a:endParaRPr>
          </a:p>
        </p:txBody>
      </p:sp>
      <p:sp>
        <p:nvSpPr>
          <p:cNvPr id="27" name="Rectangle 11"/>
          <p:cNvSpPr>
            <a:spLocks noChangeArrowheads="1"/>
          </p:cNvSpPr>
          <p:nvPr/>
        </p:nvSpPr>
        <p:spPr bwMode="gray">
          <a:xfrm>
            <a:off x="11854521" y="3914994"/>
            <a:ext cx="1332001" cy="4677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Grey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115.115.115</a:t>
            </a:r>
          </a:p>
        </p:txBody>
      </p:sp>
      <p:sp>
        <p:nvSpPr>
          <p:cNvPr id="28" name="Rectangle 8"/>
          <p:cNvSpPr>
            <a:spLocks noChangeArrowheads="1"/>
          </p:cNvSpPr>
          <p:nvPr/>
        </p:nvSpPr>
        <p:spPr bwMode="gray">
          <a:xfrm>
            <a:off x="11854521" y="3331157"/>
            <a:ext cx="1332001" cy="467771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Grey 25%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220.220.220</a:t>
            </a:r>
          </a:p>
        </p:txBody>
      </p:sp>
      <p:sp>
        <p:nvSpPr>
          <p:cNvPr id="29" name="Textfeld 28"/>
          <p:cNvSpPr txBox="1"/>
          <p:nvPr/>
        </p:nvSpPr>
        <p:spPr>
          <a:xfrm rot="5400000">
            <a:off x="12509766" y="3974474"/>
            <a:ext cx="1635445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lvl="0">
              <a:lnSpc>
                <a:spcPts val="2000"/>
              </a:lnSpc>
              <a:defRPr sz="1800" u="sng">
                <a:solidFill>
                  <a:srgbClr val="646464"/>
                </a:solidFill>
              </a:defRPr>
            </a:lvl1pPr>
          </a:lstStyle>
          <a:p>
            <a:pPr>
              <a:buClr>
                <a:srgbClr val="737373"/>
              </a:buClr>
            </a:pPr>
            <a:r>
              <a:rPr lang="en-GB" u="none" dirty="0"/>
              <a:t>Achromatic</a:t>
            </a:r>
          </a:p>
        </p:txBody>
      </p:sp>
    </p:spTree>
    <p:extLst>
      <p:ext uri="{BB962C8B-B14F-4D97-AF65-F5344CB8AC3E}">
        <p14:creationId xmlns:p14="http://schemas.microsoft.com/office/powerpoint/2010/main" val="1349017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</p:sldLayoutIdLst>
  <p:transition/>
  <p:hf sldNum="0" hdr="0" dt="0"/>
  <p:txStyles>
    <p:titleStyle>
      <a:lvl1pPr algn="l" defTabSz="282575" rtl="0" eaLnBrk="1" fontAlgn="base" hangingPunct="1">
        <a:lnSpc>
          <a:spcPct val="95000"/>
        </a:lnSpc>
        <a:spcBef>
          <a:spcPct val="0"/>
        </a:spcBef>
        <a:spcAft>
          <a:spcPct val="0"/>
        </a:spcAft>
        <a:tabLst>
          <a:tab pos="282575" algn="l"/>
        </a:tabLst>
        <a:defRPr sz="2400" b="0" cap="none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2pPr>
      <a:lvl3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3pPr>
      <a:lvl4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4pPr>
      <a:lvl5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5pPr>
      <a:lvl6pPr marL="4572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6pPr>
      <a:lvl7pPr marL="9144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7pPr>
      <a:lvl8pPr marL="13716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8pPr>
      <a:lvl9pPr marL="18288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9pPr>
    </p:titleStyle>
    <p:bodyStyle>
      <a:lvl1pPr marL="266700" indent="-266700" algn="l" defTabSz="1425575" rtl="0" eaLnBrk="1" fontAlgn="base" hangingPunct="1">
        <a:lnSpc>
          <a:spcPct val="95000"/>
        </a:lnSpc>
        <a:spcBef>
          <a:spcPts val="5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66700" algn="l"/>
          <a:tab pos="2085975" algn="l"/>
          <a:tab pos="4171950" algn="l"/>
          <a:tab pos="6267450" algn="l"/>
        </a:tabLst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542925" indent="-276225" algn="l" defTabSz="1425575" rtl="0" eaLnBrk="1" fontAlgn="base" hangingPunct="1">
        <a:lnSpc>
          <a:spcPct val="95000"/>
        </a:lnSpc>
        <a:spcBef>
          <a:spcPts val="5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800">
          <a:solidFill>
            <a:schemeClr val="tx1"/>
          </a:solidFill>
          <a:latin typeface="+mn-lt"/>
        </a:defRPr>
      </a:lvl2pPr>
      <a:lvl3pPr marL="809625" indent="-266700" algn="l" defTabSz="1425575" rtl="0" eaLnBrk="1" fontAlgn="base" hangingPunct="1">
        <a:lnSpc>
          <a:spcPct val="95000"/>
        </a:lnSpc>
        <a:spcBef>
          <a:spcPts val="5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800">
          <a:solidFill>
            <a:schemeClr val="tx1"/>
          </a:solidFill>
          <a:latin typeface="+mn-lt"/>
        </a:defRPr>
      </a:lvl3pPr>
      <a:lvl4pPr marL="1076325" indent="-266700" algn="l" defTabSz="1425575" rtl="0" eaLnBrk="1" fontAlgn="base" hangingPunct="1">
        <a:lnSpc>
          <a:spcPct val="95000"/>
        </a:lnSpc>
        <a:spcBef>
          <a:spcPts val="5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800">
          <a:solidFill>
            <a:schemeClr val="tx1"/>
          </a:solidFill>
          <a:latin typeface="+mn-lt"/>
        </a:defRPr>
      </a:lvl4pPr>
      <a:lvl5pPr marL="1343025" indent="-266700" algn="l" defTabSz="1425575" rtl="0" eaLnBrk="1" fontAlgn="base" hangingPunct="1">
        <a:lnSpc>
          <a:spcPct val="95000"/>
        </a:lnSpc>
        <a:spcBef>
          <a:spcPts val="5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800">
          <a:solidFill>
            <a:schemeClr val="tx1"/>
          </a:solidFill>
          <a:latin typeface="+mn-lt"/>
        </a:defRPr>
      </a:lvl5pPr>
      <a:lvl6pPr marL="31242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6pPr>
      <a:lvl7pPr marL="35814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7pPr>
      <a:lvl8pPr marL="40386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8pPr>
      <a:lvl9pPr marL="44958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85" userDrawn="1">
          <p15:clr>
            <a:srgbClr val="F26B43"/>
          </p15:clr>
        </p15:guide>
        <p15:guide id="2" orient="horz" pos="3380" userDrawn="1">
          <p15:clr>
            <a:srgbClr val="F26B43"/>
          </p15:clr>
        </p15:guide>
        <p15:guide id="3" pos="318" userDrawn="1">
          <p15:clr>
            <a:srgbClr val="F26B43"/>
          </p15:clr>
        </p15:guide>
        <p15:guide id="4" pos="694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 bwMode="auto">
          <a:xfrm>
            <a:off x="317417" y="5801137"/>
            <a:ext cx="10887242" cy="44226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32219265"/>
              </p:ext>
            </p:extLst>
          </p:nvPr>
        </p:nvGraphicFramePr>
        <p:xfrm>
          <a:off x="2001" y="1501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001" y="1501"/>
                        <a:ext cx="2000" cy="1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769" name="Rectangle 113"/>
          <p:cNvSpPr>
            <a:spLocks noGrp="1" noChangeArrowheads="1"/>
          </p:cNvSpPr>
          <p:nvPr>
            <p:ph type="title"/>
          </p:nvPr>
        </p:nvSpPr>
        <p:spPr bwMode="gray">
          <a:xfrm>
            <a:off x="634116" y="314329"/>
            <a:ext cx="10253845" cy="714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0" name="Rectangle 176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887036" y="6029779"/>
            <a:ext cx="8730242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>
              <a:lnSpc>
                <a:spcPct val="95000"/>
              </a:lnSpc>
              <a:buClrTx/>
              <a:buSzTx/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634115" y="1329014"/>
            <a:ext cx="10253847" cy="4089133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635475" y="6029779"/>
            <a:ext cx="271236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>
              <a:buClrTx/>
              <a:buSzTx/>
              <a:buFontTx/>
              <a:buNone/>
              <a:defRPr sz="800"/>
            </a:lvl1pPr>
          </a:lstStyle>
          <a:p>
            <a:fld id="{BF68F70B-AC95-45BE-AEB8-15EAB33A653A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0368" y="5894218"/>
            <a:ext cx="426624" cy="256105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 rot="16200000">
            <a:off x="-3155438" y="3953496"/>
            <a:ext cx="1577228" cy="3488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000"/>
              </a:lnSpc>
              <a:buClr>
                <a:srgbClr val="737373"/>
              </a:buClr>
            </a:pPr>
            <a:r>
              <a:rPr lang="en-GB" sz="1800" dirty="0">
                <a:solidFill>
                  <a:srgbClr val="646464"/>
                </a:solidFill>
              </a:rPr>
              <a:t>Primary colours</a:t>
            </a:r>
          </a:p>
        </p:txBody>
      </p:sp>
      <p:cxnSp>
        <p:nvCxnSpPr>
          <p:cNvPr id="10" name="Gerade Verbindung 9"/>
          <p:cNvCxnSpPr/>
          <p:nvPr/>
        </p:nvCxnSpPr>
        <p:spPr bwMode="auto">
          <a:xfrm>
            <a:off x="-2238186" y="3149178"/>
            <a:ext cx="0" cy="2089019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Rectangle 4"/>
          <p:cNvSpPr>
            <a:spLocks noChangeArrowheads="1"/>
          </p:cNvSpPr>
          <p:nvPr/>
        </p:nvSpPr>
        <p:spPr bwMode="gray">
          <a:xfrm>
            <a:off x="-2152590" y="42165"/>
            <a:ext cx="1590509" cy="2313364"/>
          </a:xfrm>
          <a:prstGeom prst="rect">
            <a:avLst/>
          </a:prstGeom>
          <a:solidFill>
            <a:schemeClr val="bg1"/>
          </a:solidFill>
          <a:ln w="19050">
            <a:solidFill>
              <a:srgbClr val="DFDFD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36000" rIns="36000" bIns="36000" anchor="ctr">
            <a:noAutofit/>
          </a:bodyPr>
          <a:lstStyle/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Always use </a:t>
            </a:r>
            <a:r>
              <a:rPr lang="en-GB" sz="1200" kern="0" dirty="0" err="1">
                <a:solidFill>
                  <a:srgbClr val="646464"/>
                </a:solidFill>
                <a:latin typeface="TUIType"/>
              </a:rPr>
              <a:t>TUITypeLight</a:t>
            </a:r>
            <a:endParaRPr lang="en-GB" sz="1200" kern="0" dirty="0">
              <a:solidFill>
                <a:srgbClr val="646464"/>
              </a:solidFill>
              <a:latin typeface="TUIType"/>
            </a:endParaRP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Font size14pt</a:t>
            </a: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Line spacing 6 </a:t>
            </a:r>
            <a:r>
              <a:rPr lang="en-GB" sz="1200" kern="0" dirty="0" err="1">
                <a:solidFill>
                  <a:srgbClr val="646464"/>
                </a:solidFill>
                <a:latin typeface="TUIType"/>
              </a:rPr>
              <a:t>pt</a:t>
            </a:r>
            <a:endParaRPr lang="en-GB" sz="1200" kern="0" dirty="0">
              <a:solidFill>
                <a:srgbClr val="646464"/>
              </a:solidFill>
              <a:latin typeface="TUIType"/>
            </a:endParaRP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titles in TUI-Dark Blue</a:t>
            </a: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Bullet points &amp; standard text in TUI-Dark Blue</a:t>
            </a:r>
          </a:p>
        </p:txBody>
      </p:sp>
      <p:cxnSp>
        <p:nvCxnSpPr>
          <p:cNvPr id="12" name="Gerade Verbindung 50"/>
          <p:cNvCxnSpPr/>
          <p:nvPr/>
        </p:nvCxnSpPr>
        <p:spPr bwMode="auto">
          <a:xfrm>
            <a:off x="-2238186" y="29279"/>
            <a:ext cx="0" cy="2313364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Textfeld 45"/>
          <p:cNvSpPr txBox="1"/>
          <p:nvPr/>
        </p:nvSpPr>
        <p:spPr>
          <a:xfrm rot="16200000">
            <a:off x="-3523505" y="1024467"/>
            <a:ext cx="2313365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  <a:buClr>
                <a:srgbClr val="737373"/>
              </a:buClr>
            </a:pPr>
            <a:r>
              <a:rPr lang="en-GB" sz="1800" dirty="0">
                <a:solidFill>
                  <a:srgbClr val="646464"/>
                </a:solidFill>
              </a:rPr>
              <a:t>Conventions</a:t>
            </a:r>
          </a:p>
        </p:txBody>
      </p:sp>
      <p:sp>
        <p:nvSpPr>
          <p:cNvPr id="14" name="Textfeld 13"/>
          <p:cNvSpPr txBox="1"/>
          <p:nvPr/>
        </p:nvSpPr>
        <p:spPr>
          <a:xfrm rot="5400000">
            <a:off x="13064715" y="637539"/>
            <a:ext cx="1627037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lnSpc>
                <a:spcPts val="2000"/>
              </a:lnSpc>
              <a:defRPr sz="1800" u="sng">
                <a:solidFill>
                  <a:srgbClr val="646464"/>
                </a:solidFill>
              </a:defRPr>
            </a:lvl1pPr>
          </a:lstStyle>
          <a:p>
            <a:pPr>
              <a:buClr>
                <a:srgbClr val="737373"/>
              </a:buClr>
            </a:pPr>
            <a:r>
              <a:rPr lang="en-GB" u="none" dirty="0"/>
              <a:t>Functional</a:t>
            </a:r>
          </a:p>
        </p:txBody>
      </p:sp>
      <p:cxnSp>
        <p:nvCxnSpPr>
          <p:cNvPr id="15" name="Gerade Verbindung 14"/>
          <p:cNvCxnSpPr/>
          <p:nvPr/>
        </p:nvCxnSpPr>
        <p:spPr bwMode="auto">
          <a:xfrm>
            <a:off x="13745694" y="-7491"/>
            <a:ext cx="0" cy="156494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Gerade Verbindung 15"/>
          <p:cNvCxnSpPr/>
          <p:nvPr/>
        </p:nvCxnSpPr>
        <p:spPr bwMode="auto">
          <a:xfrm>
            <a:off x="13745694" y="3149176"/>
            <a:ext cx="0" cy="1546102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Rectangle 9"/>
          <p:cNvSpPr>
            <a:spLocks noChangeArrowheads="1"/>
          </p:cNvSpPr>
          <p:nvPr/>
        </p:nvSpPr>
        <p:spPr bwMode="gray">
          <a:xfrm>
            <a:off x="-2178096" y="3706411"/>
            <a:ext cx="1678413" cy="442217"/>
          </a:xfrm>
          <a:prstGeom prst="rect">
            <a:avLst/>
          </a:prstGeom>
          <a:solidFill>
            <a:srgbClr val="C2E6FA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Blue 50%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194.230.250</a:t>
            </a:r>
          </a:p>
        </p:txBody>
      </p:sp>
      <p:sp>
        <p:nvSpPr>
          <p:cNvPr id="18" name="Rectangle 10"/>
          <p:cNvSpPr>
            <a:spLocks noChangeArrowheads="1"/>
          </p:cNvSpPr>
          <p:nvPr/>
        </p:nvSpPr>
        <p:spPr bwMode="gray">
          <a:xfrm>
            <a:off x="-2178096" y="4251196"/>
            <a:ext cx="1678413" cy="442217"/>
          </a:xfrm>
          <a:prstGeom prst="rect">
            <a:avLst/>
          </a:prstGeom>
          <a:solidFill>
            <a:srgbClr val="092A5E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TUI-Dark Blue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9.42.94</a:t>
            </a:r>
            <a:endParaRPr lang="en-GB" sz="1200" dirty="0">
              <a:solidFill>
                <a:srgbClr val="092A5E"/>
              </a:solidFill>
              <a:latin typeface="TUITypeLight"/>
              <a:cs typeface="Arial" pitchFamily="34" charset="0"/>
            </a:endParaRPr>
          </a:p>
        </p:txBody>
      </p:sp>
      <p:sp>
        <p:nvSpPr>
          <p:cNvPr id="19" name="Rectangle 8"/>
          <p:cNvSpPr>
            <a:spLocks noChangeArrowheads="1"/>
          </p:cNvSpPr>
          <p:nvPr/>
        </p:nvSpPr>
        <p:spPr bwMode="gray">
          <a:xfrm>
            <a:off x="-2178096" y="3161627"/>
            <a:ext cx="1678413" cy="442217"/>
          </a:xfrm>
          <a:prstGeom prst="rect">
            <a:avLst/>
          </a:prstGeom>
          <a:solidFill>
            <a:srgbClr val="70CBF4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</a:pPr>
            <a:r>
              <a:rPr lang="en-GB" sz="1200" dirty="0">
                <a:solidFill>
                  <a:srgbClr val="000000"/>
                </a:solidFill>
                <a:cs typeface="Arial" pitchFamily="34" charset="0"/>
              </a:rPr>
              <a:t>New TUI-Blue</a:t>
            </a:r>
          </a:p>
          <a:p>
            <a:pPr eaLnBrk="1" hangingPunct="1">
              <a:lnSpc>
                <a:spcPct val="100000"/>
              </a:lnSpc>
              <a:buClrTx/>
              <a:buSzTx/>
            </a:pPr>
            <a:r>
              <a:rPr lang="en-GB" sz="1200" dirty="0">
                <a:solidFill>
                  <a:srgbClr val="000000"/>
                </a:solidFill>
                <a:cs typeface="Arial" pitchFamily="34" charset="0"/>
              </a:rPr>
              <a:t>112.203.244</a:t>
            </a:r>
          </a:p>
        </p:txBody>
      </p:sp>
      <p:sp>
        <p:nvSpPr>
          <p:cNvPr id="21" name="Rectangle 21"/>
          <p:cNvSpPr>
            <a:spLocks noChangeArrowheads="1"/>
          </p:cNvSpPr>
          <p:nvPr/>
        </p:nvSpPr>
        <p:spPr bwMode="gray">
          <a:xfrm>
            <a:off x="12023276" y="527289"/>
            <a:ext cx="1678413" cy="442217"/>
          </a:xfrm>
          <a:prstGeom prst="rect">
            <a:avLst/>
          </a:prstGeom>
          <a:solidFill>
            <a:srgbClr val="AAD700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Green 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170.215.0</a:t>
            </a:r>
          </a:p>
        </p:txBody>
      </p:sp>
      <p:sp>
        <p:nvSpPr>
          <p:cNvPr id="22" name="Rectangle 8"/>
          <p:cNvSpPr>
            <a:spLocks noChangeArrowheads="1"/>
          </p:cNvSpPr>
          <p:nvPr/>
        </p:nvSpPr>
        <p:spPr bwMode="gray">
          <a:xfrm>
            <a:off x="12023276" y="1079231"/>
            <a:ext cx="1678413" cy="442217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TUI-Yellow 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255.225.0</a:t>
            </a:r>
          </a:p>
        </p:txBody>
      </p:sp>
      <p:sp>
        <p:nvSpPr>
          <p:cNvPr id="23" name="Rectangle 14"/>
          <p:cNvSpPr>
            <a:spLocks noChangeArrowheads="1"/>
          </p:cNvSpPr>
          <p:nvPr/>
        </p:nvSpPr>
        <p:spPr bwMode="gray">
          <a:xfrm>
            <a:off x="12023276" y="15662"/>
            <a:ext cx="1678413" cy="442217"/>
          </a:xfrm>
          <a:prstGeom prst="rect">
            <a:avLst/>
          </a:prstGeom>
          <a:solidFill>
            <a:srgbClr val="EF0000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TUI-Red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239.0.0</a:t>
            </a:r>
          </a:p>
        </p:txBody>
      </p:sp>
      <p:sp>
        <p:nvSpPr>
          <p:cNvPr id="24" name="Rectangle 6"/>
          <p:cNvSpPr>
            <a:spLocks noChangeArrowheads="1"/>
          </p:cNvSpPr>
          <p:nvPr/>
        </p:nvSpPr>
        <p:spPr bwMode="gray">
          <a:xfrm>
            <a:off x="12023276" y="4253061"/>
            <a:ext cx="1678413" cy="442217"/>
          </a:xfrm>
          <a:prstGeom prst="rect">
            <a:avLst/>
          </a:prstGeom>
          <a:solidFill>
            <a:srgbClr val="000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TUI-Black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0.0.0</a:t>
            </a:r>
            <a:endParaRPr lang="en-GB" sz="1200" dirty="0">
              <a:solidFill>
                <a:srgbClr val="092A5E"/>
              </a:solidFill>
              <a:latin typeface="TUITypeLight"/>
              <a:cs typeface="Arial" pitchFamily="34" charset="0"/>
            </a:endParaRPr>
          </a:p>
        </p:txBody>
      </p:sp>
      <p:sp>
        <p:nvSpPr>
          <p:cNvPr id="25" name="Rectangle 7"/>
          <p:cNvSpPr>
            <a:spLocks noChangeArrowheads="1"/>
          </p:cNvSpPr>
          <p:nvPr/>
        </p:nvSpPr>
        <p:spPr bwMode="gray">
          <a:xfrm>
            <a:off x="-2178096" y="4795979"/>
            <a:ext cx="1678413" cy="44221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TUI-White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255.255.255</a:t>
            </a:r>
          </a:p>
        </p:txBody>
      </p:sp>
      <p:sp>
        <p:nvSpPr>
          <p:cNvPr id="26" name="Rectangle 11"/>
          <p:cNvSpPr>
            <a:spLocks noChangeArrowheads="1"/>
          </p:cNvSpPr>
          <p:nvPr/>
        </p:nvSpPr>
        <p:spPr bwMode="gray">
          <a:xfrm>
            <a:off x="12022187" y="3701119"/>
            <a:ext cx="1678413" cy="44221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Grey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115.115.115</a:t>
            </a:r>
          </a:p>
        </p:txBody>
      </p:sp>
      <p:sp>
        <p:nvSpPr>
          <p:cNvPr id="27" name="Rectangle 8"/>
          <p:cNvSpPr>
            <a:spLocks noChangeArrowheads="1"/>
          </p:cNvSpPr>
          <p:nvPr/>
        </p:nvSpPr>
        <p:spPr bwMode="gray">
          <a:xfrm>
            <a:off x="12022187" y="3149177"/>
            <a:ext cx="1678413" cy="442217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Grey 25%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220.220.220</a:t>
            </a:r>
          </a:p>
        </p:txBody>
      </p:sp>
      <p:sp>
        <p:nvSpPr>
          <p:cNvPr id="28" name="Textfeld 27"/>
          <p:cNvSpPr txBox="1"/>
          <p:nvPr/>
        </p:nvSpPr>
        <p:spPr>
          <a:xfrm rot="5400000">
            <a:off x="13105178" y="3747821"/>
            <a:ext cx="1546101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lvl="0">
              <a:lnSpc>
                <a:spcPts val="2000"/>
              </a:lnSpc>
              <a:defRPr sz="1800" u="sng">
                <a:solidFill>
                  <a:srgbClr val="646464"/>
                </a:solidFill>
              </a:defRPr>
            </a:lvl1pPr>
          </a:lstStyle>
          <a:p>
            <a:pPr>
              <a:buClr>
                <a:srgbClr val="737373"/>
              </a:buClr>
            </a:pPr>
            <a:r>
              <a:rPr lang="en-GB" u="none" dirty="0"/>
              <a:t>Achromatic</a:t>
            </a:r>
          </a:p>
        </p:txBody>
      </p:sp>
    </p:spTree>
    <p:extLst>
      <p:ext uri="{BB962C8B-B14F-4D97-AF65-F5344CB8AC3E}">
        <p14:creationId xmlns:p14="http://schemas.microsoft.com/office/powerpoint/2010/main" val="2615884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</p:sldLayoutIdLst>
  <p:transition/>
  <p:hf sldNum="0" hdr="0" dt="0"/>
  <p:txStyles>
    <p:titleStyle>
      <a:lvl1pPr algn="l" defTabSz="282575" rtl="0" eaLnBrk="1" fontAlgn="base" hangingPunct="1">
        <a:lnSpc>
          <a:spcPct val="95000"/>
        </a:lnSpc>
        <a:spcBef>
          <a:spcPct val="0"/>
        </a:spcBef>
        <a:spcAft>
          <a:spcPct val="0"/>
        </a:spcAft>
        <a:tabLst>
          <a:tab pos="282575" algn="l"/>
        </a:tabLst>
        <a:defRPr sz="2400" b="0" cap="none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2pPr>
      <a:lvl3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3pPr>
      <a:lvl4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4pPr>
      <a:lvl5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5pPr>
      <a:lvl6pPr marL="4572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6pPr>
      <a:lvl7pPr marL="9144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7pPr>
      <a:lvl8pPr marL="13716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8pPr>
      <a:lvl9pPr marL="18288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9pPr>
    </p:titleStyle>
    <p:bodyStyle>
      <a:lvl1pPr marL="176213" indent="-176213" algn="l" defTabSz="1425575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67450" algn="l"/>
        </a:tabLs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1425575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400">
          <a:solidFill>
            <a:schemeClr val="tx1"/>
          </a:solidFill>
          <a:latin typeface="+mn-lt"/>
        </a:defRPr>
      </a:lvl2pPr>
      <a:lvl3pPr marL="538163" indent="-180975" algn="l" defTabSz="1425575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400">
          <a:solidFill>
            <a:schemeClr val="tx1"/>
          </a:solidFill>
          <a:latin typeface="+mn-lt"/>
        </a:defRPr>
      </a:lvl3pPr>
      <a:lvl4pPr marL="717550" indent="-176213" algn="l" defTabSz="1425575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808038" algn="l"/>
          <a:tab pos="898525" algn="l"/>
          <a:tab pos="2085975" algn="l"/>
          <a:tab pos="4171950" algn="l"/>
          <a:tab pos="6257925" algn="l"/>
        </a:tabLst>
        <a:defRPr sz="1400">
          <a:solidFill>
            <a:schemeClr val="tx1"/>
          </a:solidFill>
          <a:latin typeface="+mn-lt"/>
        </a:defRPr>
      </a:lvl4pPr>
      <a:lvl5pPr marL="898525" indent="-180975" algn="l" defTabSz="1425575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400">
          <a:solidFill>
            <a:schemeClr val="tx1"/>
          </a:solidFill>
          <a:latin typeface="+mn-lt"/>
        </a:defRPr>
      </a:lvl5pPr>
      <a:lvl6pPr marL="31242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6pPr>
      <a:lvl7pPr marL="35814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7pPr>
      <a:lvl8pPr marL="40386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8pPr>
      <a:lvl9pPr marL="44958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 userDrawn="1">
          <p15:clr>
            <a:srgbClr val="F26B43"/>
          </p15:clr>
        </p15:guide>
        <p15:guide id="2" orient="horz" pos="3612" userDrawn="1">
          <p15:clr>
            <a:srgbClr val="F26B43"/>
          </p15:clr>
        </p15:guide>
        <p15:guide id="3" pos="5443" userDrawn="1">
          <p15:clr>
            <a:srgbClr val="F26B43"/>
          </p15:clr>
        </p15:guide>
        <p15:guide id="4" pos="317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/>
          <p:nvPr/>
        </p:nvSpPr>
        <p:spPr bwMode="auto">
          <a:xfrm>
            <a:off x="251905" y="5760572"/>
            <a:ext cx="11018266" cy="46782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36000" tIns="0" rIns="36000" bIns="0" rtlCol="0" anchor="ctr"/>
          <a:lstStyle/>
          <a:p>
            <a:pPr>
              <a:lnSpc>
                <a:spcPct val="80000"/>
              </a:lnSpc>
              <a:buClrTx/>
              <a:buSzTx/>
            </a:pPr>
            <a:endParaRPr lang="de-DE" sz="1400" b="1" kern="0" dirty="0">
              <a:solidFill>
                <a:srgbClr val="092A5E"/>
              </a:solidFill>
              <a:latin typeface="TUIType"/>
            </a:endParaRPr>
          </a:p>
        </p:txBody>
      </p:sp>
      <p:sp>
        <p:nvSpPr>
          <p:cNvPr id="70769" name="Rectangle 113"/>
          <p:cNvSpPr>
            <a:spLocks noGrp="1" noChangeArrowheads="1"/>
          </p:cNvSpPr>
          <p:nvPr>
            <p:ph type="title"/>
          </p:nvPr>
        </p:nvSpPr>
        <p:spPr bwMode="gray">
          <a:xfrm>
            <a:off x="504825" y="325192"/>
            <a:ext cx="10512425" cy="755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20" name="Rectangle 176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705600" y="6002426"/>
            <a:ext cx="8412670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>
              <a:lnSpc>
                <a:spcPct val="95000"/>
              </a:lnSpc>
              <a:buClrTx/>
              <a:buSzTx/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504825" y="1399380"/>
            <a:ext cx="10512425" cy="39637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504826" y="6002426"/>
            <a:ext cx="271236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>
              <a:buClrTx/>
              <a:buSzTx/>
              <a:buFontTx/>
              <a:buNone/>
              <a:defRPr sz="800"/>
            </a:lvl1pPr>
          </a:lstStyle>
          <a:p>
            <a:fld id="{BF68F70B-AC95-45BE-AEB8-15EAB33A653A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4410" y="5859122"/>
            <a:ext cx="338572" cy="270724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 rot="16200000">
            <a:off x="-2666942" y="4192034"/>
            <a:ext cx="1577228" cy="3488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000"/>
              </a:lnSpc>
              <a:buClr>
                <a:srgbClr val="737373"/>
              </a:buClr>
            </a:pPr>
            <a:r>
              <a:rPr lang="en-GB" sz="1800" dirty="0">
                <a:solidFill>
                  <a:srgbClr val="646464"/>
                </a:solidFill>
              </a:rPr>
              <a:t>Primary colours</a:t>
            </a:r>
          </a:p>
        </p:txBody>
      </p:sp>
      <p:cxnSp>
        <p:nvCxnSpPr>
          <p:cNvPr id="9" name="Gerade Verbindung 8"/>
          <p:cNvCxnSpPr/>
          <p:nvPr/>
        </p:nvCxnSpPr>
        <p:spPr bwMode="auto">
          <a:xfrm>
            <a:off x="-1776241" y="3331158"/>
            <a:ext cx="0" cy="2209736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ctangle 4"/>
          <p:cNvSpPr>
            <a:spLocks noChangeArrowheads="1"/>
          </p:cNvSpPr>
          <p:nvPr/>
        </p:nvSpPr>
        <p:spPr bwMode="gray">
          <a:xfrm>
            <a:off x="-1708310" y="44603"/>
            <a:ext cx="1262239" cy="2447045"/>
          </a:xfrm>
          <a:prstGeom prst="rect">
            <a:avLst/>
          </a:prstGeom>
          <a:solidFill>
            <a:schemeClr val="bg1"/>
          </a:solidFill>
          <a:ln w="19050">
            <a:solidFill>
              <a:srgbClr val="DFDFD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36000" rIns="36000" bIns="36000" anchor="ctr">
            <a:noAutofit/>
          </a:bodyPr>
          <a:lstStyle/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Always use </a:t>
            </a:r>
            <a:r>
              <a:rPr lang="en-GB" sz="1200" kern="0" dirty="0" err="1">
                <a:solidFill>
                  <a:srgbClr val="646464"/>
                </a:solidFill>
                <a:latin typeface="TUIType"/>
              </a:rPr>
              <a:t>TUITypeLight</a:t>
            </a:r>
            <a:endParaRPr lang="en-GB" sz="1200" kern="0" dirty="0">
              <a:solidFill>
                <a:srgbClr val="646464"/>
              </a:solidFill>
              <a:latin typeface="TUIType"/>
            </a:endParaRP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Font size14pt</a:t>
            </a: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Line spacing 6 </a:t>
            </a:r>
            <a:r>
              <a:rPr lang="en-GB" sz="1200" kern="0" dirty="0" err="1">
                <a:solidFill>
                  <a:srgbClr val="646464"/>
                </a:solidFill>
                <a:latin typeface="TUIType"/>
              </a:rPr>
              <a:t>pt</a:t>
            </a:r>
            <a:endParaRPr lang="en-GB" sz="1200" kern="0" dirty="0">
              <a:solidFill>
                <a:srgbClr val="646464"/>
              </a:solidFill>
              <a:latin typeface="TUIType"/>
            </a:endParaRP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titles in TUI-Dark Blue</a:t>
            </a:r>
          </a:p>
          <a:p>
            <a:pPr marL="93663" indent="-93663" algn="l" defTabSz="1425575" eaLnBrk="1" hangingPunct="1">
              <a:spcBef>
                <a:spcPts val="500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085975" algn="l"/>
                <a:tab pos="4171950" algn="l"/>
                <a:tab pos="6267450" algn="l"/>
              </a:tabLst>
              <a:defRPr/>
            </a:pPr>
            <a:r>
              <a:rPr lang="en-GB" sz="1200" kern="0" dirty="0">
                <a:solidFill>
                  <a:srgbClr val="646464"/>
                </a:solidFill>
                <a:latin typeface="TUIType"/>
              </a:rPr>
              <a:t>Bullet points &amp; standard text in TUI-Dark Blue</a:t>
            </a:r>
          </a:p>
        </p:txBody>
      </p:sp>
      <p:cxnSp>
        <p:nvCxnSpPr>
          <p:cNvPr id="11" name="Gerade Verbindung 50"/>
          <p:cNvCxnSpPr/>
          <p:nvPr/>
        </p:nvCxnSpPr>
        <p:spPr bwMode="auto">
          <a:xfrm>
            <a:off x="-1776241" y="30972"/>
            <a:ext cx="0" cy="2447045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extfeld 45"/>
          <p:cNvSpPr txBox="1"/>
          <p:nvPr/>
        </p:nvSpPr>
        <p:spPr>
          <a:xfrm rot="16200000">
            <a:off x="-3101851" y="1093747"/>
            <a:ext cx="2447046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  <a:buClr>
                <a:srgbClr val="737373"/>
              </a:buClr>
            </a:pPr>
            <a:r>
              <a:rPr lang="en-GB" sz="1800" dirty="0">
                <a:solidFill>
                  <a:srgbClr val="646464"/>
                </a:solidFill>
              </a:rPr>
              <a:t>Conventions</a:t>
            </a:r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gray">
          <a:xfrm>
            <a:off x="-1728552" y="3920592"/>
            <a:ext cx="1332001" cy="467771"/>
          </a:xfrm>
          <a:prstGeom prst="rect">
            <a:avLst/>
          </a:prstGeom>
          <a:solidFill>
            <a:srgbClr val="C2E6FA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Blue 50%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194.230.250</a:t>
            </a:r>
          </a:p>
        </p:txBody>
      </p:sp>
      <p:sp>
        <p:nvSpPr>
          <p:cNvPr id="14" name="Rectangle 10"/>
          <p:cNvSpPr>
            <a:spLocks noChangeArrowheads="1"/>
          </p:cNvSpPr>
          <p:nvPr/>
        </p:nvSpPr>
        <p:spPr bwMode="gray">
          <a:xfrm>
            <a:off x="-1728552" y="4496858"/>
            <a:ext cx="1332001" cy="467771"/>
          </a:xfrm>
          <a:prstGeom prst="rect">
            <a:avLst/>
          </a:prstGeom>
          <a:solidFill>
            <a:srgbClr val="092A5E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TUI-Dark Blue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9.42.94</a:t>
            </a:r>
            <a:endParaRPr lang="en-GB" sz="1200" dirty="0">
              <a:solidFill>
                <a:srgbClr val="092A5E"/>
              </a:solidFill>
              <a:latin typeface="TUITypeLight"/>
              <a:cs typeface="Arial" pitchFamily="34" charset="0"/>
            </a:endParaRPr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gray">
          <a:xfrm>
            <a:off x="-1728552" y="3344327"/>
            <a:ext cx="1332001" cy="467771"/>
          </a:xfrm>
          <a:prstGeom prst="rect">
            <a:avLst/>
          </a:prstGeom>
          <a:solidFill>
            <a:srgbClr val="70CBF4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</a:pPr>
            <a:r>
              <a:rPr lang="en-GB" sz="1200" dirty="0">
                <a:solidFill>
                  <a:srgbClr val="000000"/>
                </a:solidFill>
                <a:cs typeface="Arial" pitchFamily="34" charset="0"/>
              </a:rPr>
              <a:t>New TUI-Blue</a:t>
            </a:r>
          </a:p>
          <a:p>
            <a:pPr eaLnBrk="1" hangingPunct="1">
              <a:lnSpc>
                <a:spcPct val="100000"/>
              </a:lnSpc>
              <a:buClrTx/>
              <a:buSzTx/>
            </a:pPr>
            <a:r>
              <a:rPr lang="en-GB" sz="1200" dirty="0">
                <a:solidFill>
                  <a:srgbClr val="000000"/>
                </a:solidFill>
                <a:cs typeface="Arial" pitchFamily="34" charset="0"/>
              </a:rPr>
              <a:t>112.203.244</a:t>
            </a:r>
          </a:p>
        </p:txBody>
      </p:sp>
      <p:sp>
        <p:nvSpPr>
          <p:cNvPr id="16" name="Rectangle 7"/>
          <p:cNvSpPr>
            <a:spLocks noChangeArrowheads="1"/>
          </p:cNvSpPr>
          <p:nvPr/>
        </p:nvSpPr>
        <p:spPr bwMode="gray">
          <a:xfrm>
            <a:off x="-1728552" y="5073123"/>
            <a:ext cx="1332001" cy="46777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TUI-White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255.255.255</a:t>
            </a:r>
          </a:p>
        </p:txBody>
      </p:sp>
      <p:sp>
        <p:nvSpPr>
          <p:cNvPr id="17" name="Textfeld 16"/>
          <p:cNvSpPr txBox="1"/>
          <p:nvPr/>
        </p:nvSpPr>
        <p:spPr>
          <a:xfrm rot="5400000">
            <a:off x="12466963" y="684460"/>
            <a:ext cx="1721058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lnSpc>
                <a:spcPts val="2000"/>
              </a:lnSpc>
              <a:defRPr sz="1800" u="sng">
                <a:solidFill>
                  <a:srgbClr val="646464"/>
                </a:solidFill>
              </a:defRPr>
            </a:lvl1pPr>
          </a:lstStyle>
          <a:p>
            <a:pPr>
              <a:buClr>
                <a:srgbClr val="737373"/>
              </a:buClr>
            </a:pPr>
            <a:r>
              <a:rPr lang="en-GB" u="none" dirty="0"/>
              <a:t>Functional</a:t>
            </a:r>
          </a:p>
        </p:txBody>
      </p:sp>
      <p:cxnSp>
        <p:nvCxnSpPr>
          <p:cNvPr id="18" name="Gerade Verbindung 17"/>
          <p:cNvCxnSpPr/>
          <p:nvPr/>
        </p:nvCxnSpPr>
        <p:spPr bwMode="auto">
          <a:xfrm>
            <a:off x="13222308" y="-7924"/>
            <a:ext cx="0" cy="1655373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rade Verbindung 18"/>
          <p:cNvCxnSpPr/>
          <p:nvPr/>
        </p:nvCxnSpPr>
        <p:spPr bwMode="auto">
          <a:xfrm>
            <a:off x="13222308" y="3331157"/>
            <a:ext cx="0" cy="1635446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Rectangle 21"/>
          <p:cNvSpPr>
            <a:spLocks noChangeArrowheads="1"/>
          </p:cNvSpPr>
          <p:nvPr/>
        </p:nvSpPr>
        <p:spPr bwMode="gray">
          <a:xfrm>
            <a:off x="11855385" y="557760"/>
            <a:ext cx="1332001" cy="467771"/>
          </a:xfrm>
          <a:prstGeom prst="rect">
            <a:avLst/>
          </a:prstGeom>
          <a:solidFill>
            <a:srgbClr val="AAD700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Green 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170.215.0</a:t>
            </a:r>
          </a:p>
        </p:txBody>
      </p:sp>
      <p:sp>
        <p:nvSpPr>
          <p:cNvPr id="24" name="Rectangle 8"/>
          <p:cNvSpPr>
            <a:spLocks noChangeArrowheads="1"/>
          </p:cNvSpPr>
          <p:nvPr/>
        </p:nvSpPr>
        <p:spPr bwMode="gray">
          <a:xfrm>
            <a:off x="11855385" y="1141596"/>
            <a:ext cx="1332001" cy="467771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TUI-Yellow 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255.225.0</a:t>
            </a:r>
          </a:p>
        </p:txBody>
      </p:sp>
      <p:sp>
        <p:nvSpPr>
          <p:cNvPr id="25" name="Rectangle 14"/>
          <p:cNvSpPr>
            <a:spLocks noChangeArrowheads="1"/>
          </p:cNvSpPr>
          <p:nvPr/>
        </p:nvSpPr>
        <p:spPr bwMode="gray">
          <a:xfrm>
            <a:off x="11855385" y="16567"/>
            <a:ext cx="1332001" cy="467771"/>
          </a:xfrm>
          <a:prstGeom prst="rect">
            <a:avLst/>
          </a:prstGeom>
          <a:solidFill>
            <a:srgbClr val="D40E14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TUI-Red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212.14.20</a:t>
            </a:r>
          </a:p>
        </p:txBody>
      </p:sp>
      <p:sp>
        <p:nvSpPr>
          <p:cNvPr id="26" name="Rectangle 6"/>
          <p:cNvSpPr>
            <a:spLocks noChangeArrowheads="1"/>
          </p:cNvSpPr>
          <p:nvPr/>
        </p:nvSpPr>
        <p:spPr bwMode="gray">
          <a:xfrm>
            <a:off x="11855385" y="4498831"/>
            <a:ext cx="1332001" cy="467771"/>
          </a:xfrm>
          <a:prstGeom prst="rect">
            <a:avLst/>
          </a:prstGeom>
          <a:solidFill>
            <a:srgbClr val="000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TUI-Black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FFFFFF"/>
                </a:solidFill>
                <a:latin typeface="TUITypeLight"/>
                <a:cs typeface="Arial" pitchFamily="34" charset="0"/>
              </a:rPr>
              <a:t>0.0.0</a:t>
            </a:r>
            <a:endParaRPr lang="en-GB" sz="1200" dirty="0">
              <a:solidFill>
                <a:srgbClr val="092A5E"/>
              </a:solidFill>
              <a:latin typeface="TUITypeLight"/>
              <a:cs typeface="Arial" pitchFamily="34" charset="0"/>
            </a:endParaRPr>
          </a:p>
        </p:txBody>
      </p:sp>
      <p:sp>
        <p:nvSpPr>
          <p:cNvPr id="27" name="Rectangle 11"/>
          <p:cNvSpPr>
            <a:spLocks noChangeArrowheads="1"/>
          </p:cNvSpPr>
          <p:nvPr/>
        </p:nvSpPr>
        <p:spPr bwMode="gray">
          <a:xfrm>
            <a:off x="11854521" y="3914994"/>
            <a:ext cx="1332001" cy="4677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Grey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115.115.115</a:t>
            </a:r>
          </a:p>
        </p:txBody>
      </p:sp>
      <p:sp>
        <p:nvSpPr>
          <p:cNvPr id="28" name="Rectangle 8"/>
          <p:cNvSpPr>
            <a:spLocks noChangeArrowheads="1"/>
          </p:cNvSpPr>
          <p:nvPr/>
        </p:nvSpPr>
        <p:spPr bwMode="gray">
          <a:xfrm>
            <a:off x="11854521" y="3331157"/>
            <a:ext cx="1332001" cy="467771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txBody>
          <a:bodyPr vert="horz" wrap="none" lIns="0" tIns="46800" rIns="0" bIns="4680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New TUI-Grey 25%</a:t>
            </a:r>
          </a:p>
          <a:p>
            <a:pPr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GB" sz="1200" dirty="0">
                <a:solidFill>
                  <a:srgbClr val="000000"/>
                </a:solidFill>
                <a:latin typeface="TUITypeLight"/>
                <a:cs typeface="Arial" pitchFamily="34" charset="0"/>
              </a:rPr>
              <a:t>220.220.220</a:t>
            </a:r>
          </a:p>
        </p:txBody>
      </p:sp>
      <p:sp>
        <p:nvSpPr>
          <p:cNvPr id="29" name="Textfeld 28"/>
          <p:cNvSpPr txBox="1"/>
          <p:nvPr/>
        </p:nvSpPr>
        <p:spPr>
          <a:xfrm rot="5400000">
            <a:off x="12509766" y="3974474"/>
            <a:ext cx="1635445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lvl="0">
              <a:lnSpc>
                <a:spcPts val="2000"/>
              </a:lnSpc>
              <a:defRPr sz="1800" u="sng">
                <a:solidFill>
                  <a:srgbClr val="646464"/>
                </a:solidFill>
              </a:defRPr>
            </a:lvl1pPr>
          </a:lstStyle>
          <a:p>
            <a:pPr>
              <a:buClr>
                <a:srgbClr val="737373"/>
              </a:buClr>
            </a:pPr>
            <a:r>
              <a:rPr lang="en-GB" u="none" dirty="0"/>
              <a:t>Achromatic</a:t>
            </a:r>
          </a:p>
        </p:txBody>
      </p:sp>
    </p:spTree>
    <p:extLst>
      <p:ext uri="{BB962C8B-B14F-4D97-AF65-F5344CB8AC3E}">
        <p14:creationId xmlns:p14="http://schemas.microsoft.com/office/powerpoint/2010/main" val="2491843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</p:sldLayoutIdLst>
  <p:transition/>
  <p:hf sldNum="0" hdr="0" dt="0"/>
  <p:txStyles>
    <p:titleStyle>
      <a:lvl1pPr algn="l" defTabSz="282575" rtl="0" eaLnBrk="1" fontAlgn="base" hangingPunct="1">
        <a:lnSpc>
          <a:spcPct val="95000"/>
        </a:lnSpc>
        <a:spcBef>
          <a:spcPct val="0"/>
        </a:spcBef>
        <a:spcAft>
          <a:spcPct val="0"/>
        </a:spcAft>
        <a:tabLst>
          <a:tab pos="282575" algn="l"/>
        </a:tabLst>
        <a:defRPr sz="2400" b="0" cap="none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2pPr>
      <a:lvl3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3pPr>
      <a:lvl4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4pPr>
      <a:lvl5pPr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5pPr>
      <a:lvl6pPr marL="4572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6pPr>
      <a:lvl7pPr marL="9144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7pPr>
      <a:lvl8pPr marL="13716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8pPr>
      <a:lvl9pPr marL="1828800" algn="l" defTabSz="282575" rtl="0" eaLnBrk="1" fontAlgn="base" hangingPunct="1">
        <a:lnSpc>
          <a:spcPts val="3100"/>
        </a:lnSpc>
        <a:spcBef>
          <a:spcPct val="0"/>
        </a:spcBef>
        <a:spcAft>
          <a:spcPct val="0"/>
        </a:spcAft>
        <a:tabLst>
          <a:tab pos="282575" algn="l"/>
        </a:tabLst>
        <a:defRPr sz="2800">
          <a:solidFill>
            <a:schemeClr val="tx2"/>
          </a:solidFill>
          <a:latin typeface="TUIType" pitchFamily="34" charset="0"/>
        </a:defRPr>
      </a:lvl9pPr>
    </p:titleStyle>
    <p:bodyStyle>
      <a:lvl1pPr marL="266700" indent="-266700" algn="l" defTabSz="1425575" rtl="0" eaLnBrk="1" fontAlgn="base" hangingPunct="1">
        <a:lnSpc>
          <a:spcPct val="95000"/>
        </a:lnSpc>
        <a:spcBef>
          <a:spcPts val="5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66700" algn="l"/>
          <a:tab pos="2085975" algn="l"/>
          <a:tab pos="4171950" algn="l"/>
          <a:tab pos="6267450" algn="l"/>
        </a:tabLst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542925" indent="-276225" algn="l" defTabSz="1425575" rtl="0" eaLnBrk="1" fontAlgn="base" hangingPunct="1">
        <a:lnSpc>
          <a:spcPct val="95000"/>
        </a:lnSpc>
        <a:spcBef>
          <a:spcPts val="5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800">
          <a:solidFill>
            <a:schemeClr val="tx1"/>
          </a:solidFill>
          <a:latin typeface="+mn-lt"/>
        </a:defRPr>
      </a:lvl2pPr>
      <a:lvl3pPr marL="809625" indent="-266700" algn="l" defTabSz="1425575" rtl="0" eaLnBrk="1" fontAlgn="base" hangingPunct="1">
        <a:lnSpc>
          <a:spcPct val="95000"/>
        </a:lnSpc>
        <a:spcBef>
          <a:spcPts val="5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800">
          <a:solidFill>
            <a:schemeClr val="tx1"/>
          </a:solidFill>
          <a:latin typeface="+mn-lt"/>
        </a:defRPr>
      </a:lvl3pPr>
      <a:lvl4pPr marL="1076325" indent="-266700" algn="l" defTabSz="1425575" rtl="0" eaLnBrk="1" fontAlgn="base" hangingPunct="1">
        <a:lnSpc>
          <a:spcPct val="95000"/>
        </a:lnSpc>
        <a:spcBef>
          <a:spcPts val="5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800">
          <a:solidFill>
            <a:schemeClr val="tx1"/>
          </a:solidFill>
          <a:latin typeface="+mn-lt"/>
        </a:defRPr>
      </a:lvl4pPr>
      <a:lvl5pPr marL="1343025" indent="-266700" algn="l" defTabSz="1425575" rtl="0" eaLnBrk="1" fontAlgn="base" hangingPunct="1">
        <a:lnSpc>
          <a:spcPct val="95000"/>
        </a:lnSpc>
        <a:spcBef>
          <a:spcPts val="500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085975" algn="l"/>
          <a:tab pos="4171950" algn="l"/>
          <a:tab pos="6257925" algn="l"/>
        </a:tabLst>
        <a:defRPr sz="1800">
          <a:solidFill>
            <a:schemeClr val="tx1"/>
          </a:solidFill>
          <a:latin typeface="+mn-lt"/>
        </a:defRPr>
      </a:lvl5pPr>
      <a:lvl6pPr marL="31242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6pPr>
      <a:lvl7pPr marL="35814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7pPr>
      <a:lvl8pPr marL="40386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8pPr>
      <a:lvl9pPr marL="4495800" indent="-376238" algn="l" defTabSz="1425575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066925" algn="l"/>
          <a:tab pos="4162425" algn="l"/>
          <a:tab pos="6248400" algn="l"/>
        </a:tabLst>
        <a:defRPr sz="2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85" userDrawn="1">
          <p15:clr>
            <a:srgbClr val="F26B43"/>
          </p15:clr>
        </p15:guide>
        <p15:guide id="2" orient="horz" pos="3380" userDrawn="1">
          <p15:clr>
            <a:srgbClr val="F26B43"/>
          </p15:clr>
        </p15:guide>
        <p15:guide id="3" pos="318" userDrawn="1">
          <p15:clr>
            <a:srgbClr val="F26B43"/>
          </p15:clr>
        </p15:guide>
        <p15:guide id="4" pos="69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tif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027" y="4104183"/>
            <a:ext cx="10508671" cy="612368"/>
          </a:xfrm>
        </p:spPr>
        <p:txBody>
          <a:bodyPr/>
          <a:lstStyle/>
          <a:p>
            <a:r>
              <a:rPr lang="de-DE" sz="3600" dirty="0" err="1"/>
              <a:t>How</a:t>
            </a:r>
            <a:r>
              <a:rPr lang="de-DE" sz="3600" dirty="0"/>
              <a:t> </a:t>
            </a:r>
            <a:r>
              <a:rPr lang="de-DE" sz="3600" dirty="0" err="1"/>
              <a:t>to</a:t>
            </a:r>
            <a:r>
              <a:rPr lang="de-DE" sz="3600" dirty="0"/>
              <a:t> </a:t>
            </a:r>
            <a:r>
              <a:rPr lang="de-DE" sz="3600" dirty="0" err="1"/>
              <a:t>DevOps</a:t>
            </a:r>
            <a:r>
              <a:rPr lang="de-DE" sz="3600" dirty="0"/>
              <a:t> </a:t>
            </a:r>
            <a:r>
              <a:rPr lang="de-DE" sz="3600" dirty="0" err="1"/>
              <a:t>the</a:t>
            </a:r>
            <a:r>
              <a:rPr lang="de-DE" sz="3600" dirty="0"/>
              <a:t> hell out </a:t>
            </a:r>
            <a:r>
              <a:rPr lang="de-DE" sz="3600" dirty="0" err="1"/>
              <a:t>of</a:t>
            </a:r>
            <a:r>
              <a:rPr lang="de-DE" sz="3600" dirty="0"/>
              <a:t> </a:t>
            </a:r>
            <a:r>
              <a:rPr lang="de-DE" sz="3600" dirty="0" err="1"/>
              <a:t>your</a:t>
            </a:r>
            <a:r>
              <a:rPr lang="de-DE" sz="3600" dirty="0"/>
              <a:t> COVID </a:t>
            </a:r>
            <a:r>
              <a:rPr lang="de-DE" sz="3600" dirty="0" err="1"/>
              <a:t>Crisis</a:t>
            </a:r>
            <a:br>
              <a:rPr lang="de-DE" sz="3600" dirty="0"/>
            </a:br>
            <a:br>
              <a:rPr lang="de-DE" sz="3600" dirty="0"/>
            </a:br>
            <a:br>
              <a:rPr lang="de-DE" sz="3600" dirty="0"/>
            </a:br>
            <a:r>
              <a:rPr lang="de-DE" sz="3600" dirty="0"/>
              <a:t> 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629027" y="4896271"/>
            <a:ext cx="10253847" cy="479266"/>
          </a:xfrm>
        </p:spPr>
        <p:txBody>
          <a:bodyPr/>
          <a:lstStyle/>
          <a:p>
            <a:r>
              <a:rPr lang="de-DE" dirty="0"/>
              <a:t>Pieter Jordaan – Group CTO – TUI Group</a:t>
            </a:r>
          </a:p>
        </p:txBody>
      </p:sp>
    </p:spTree>
    <p:extLst>
      <p:ext uri="{BB962C8B-B14F-4D97-AF65-F5344CB8AC3E}">
        <p14:creationId xmlns:p14="http://schemas.microsoft.com/office/powerpoint/2010/main" val="201584352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" name="Picture 2" descr="H:\my documents\_important\PowerPoint templates\d_powerpoint_cover_4x3\d_powerpoint_cover_4x3\d_powerpoint_cover_4x3\d_powerpoint_cover_4x3\d_powerpoint_4x3_image2.jpg">
            <a:extLst>
              <a:ext uri="{FF2B5EF4-FFF2-40B4-BE49-F238E27FC236}">
                <a16:creationId xmlns:a16="http://schemas.microsoft.com/office/drawing/2014/main" id="{38A926DC-675F-8C41-921E-1DE20654A0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0079"/>
            <a:ext cx="11522075" cy="6480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E69B1E5-1495-1146-AD77-73888308AA32}"/>
              </a:ext>
            </a:extLst>
          </p:cNvPr>
          <p:cNvSpPr txBox="1"/>
          <p:nvPr/>
        </p:nvSpPr>
        <p:spPr>
          <a:xfrm>
            <a:off x="220799" y="202547"/>
            <a:ext cx="5850448" cy="6186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Our TUI Transformation Rules</a:t>
            </a:r>
          </a:p>
        </p:txBody>
      </p:sp>
      <p:sp>
        <p:nvSpPr>
          <p:cNvPr id="125" name="Rechteck 14">
            <a:extLst>
              <a:ext uri="{FF2B5EF4-FFF2-40B4-BE49-F238E27FC236}">
                <a16:creationId xmlns:a16="http://schemas.microsoft.com/office/drawing/2014/main" id="{59885BE8-4AF2-7444-9D0F-9D36B914C2C6}"/>
              </a:ext>
            </a:extLst>
          </p:cNvPr>
          <p:cNvSpPr/>
          <p:nvPr/>
        </p:nvSpPr>
        <p:spPr bwMode="gray">
          <a:xfrm>
            <a:off x="210365" y="1013645"/>
            <a:ext cx="10015168" cy="5198717"/>
          </a:xfrm>
          <a:prstGeom prst="rect">
            <a:avLst/>
          </a:prstGeom>
          <a:solidFill>
            <a:schemeClr val="bg1">
              <a:alpha val="82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lvl="0" indent="-285750" algn="l">
              <a:lnSpc>
                <a:spcPct val="15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b="1" kern="0" dirty="0">
                <a:latin typeface="+mn-lt"/>
              </a:rPr>
              <a:t>Move fast, Move in </a:t>
            </a:r>
            <a:r>
              <a:rPr lang="de-DE" sz="2000" b="1" kern="0" dirty="0" err="1">
                <a:latin typeface="+mn-lt"/>
              </a:rPr>
              <a:t>increments</a:t>
            </a:r>
            <a:endParaRPr lang="de-DE" sz="2000" b="1" kern="0" dirty="0">
              <a:latin typeface="+mn-lt"/>
            </a:endParaRPr>
          </a:p>
          <a:p>
            <a:pPr marL="285750" lvl="0" indent="-285750" algn="l">
              <a:lnSpc>
                <a:spcPct val="15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b="1" kern="0" dirty="0">
                <a:latin typeface="+mn-lt"/>
              </a:rPr>
              <a:t>A </a:t>
            </a:r>
            <a:r>
              <a:rPr lang="de-DE" sz="2000" b="1" kern="0" dirty="0" err="1">
                <a:latin typeface="+mn-lt"/>
              </a:rPr>
              <a:t>capability</a:t>
            </a:r>
            <a:r>
              <a:rPr lang="de-DE" sz="2000" b="1" kern="0" dirty="0">
                <a:latin typeface="+mn-lt"/>
              </a:rPr>
              <a:t> </a:t>
            </a:r>
            <a:r>
              <a:rPr lang="de-DE" sz="2000" b="1" kern="0" dirty="0" err="1">
                <a:latin typeface="+mn-lt"/>
              </a:rPr>
              <a:t>exist</a:t>
            </a:r>
            <a:r>
              <a:rPr lang="de-DE" sz="2000" b="1" kern="0" dirty="0">
                <a:latin typeface="+mn-lt"/>
              </a:rPr>
              <a:t> </a:t>
            </a:r>
            <a:r>
              <a:rPr lang="de-DE" sz="2000" b="1" kern="0" dirty="0" err="1">
                <a:latin typeface="+mn-lt"/>
              </a:rPr>
              <a:t>once</a:t>
            </a:r>
            <a:r>
              <a:rPr lang="de-DE" sz="2000" b="1" kern="0" dirty="0">
                <a:latin typeface="+mn-lt"/>
              </a:rPr>
              <a:t> </a:t>
            </a:r>
          </a:p>
          <a:p>
            <a:pPr marL="285750" indent="-285750" algn="l">
              <a:lnSpc>
                <a:spcPct val="15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b="1" kern="0" dirty="0" err="1"/>
              <a:t>Everyone</a:t>
            </a:r>
            <a:r>
              <a:rPr lang="de-DE" sz="2000" b="1" kern="0" dirty="0"/>
              <a:t> will </a:t>
            </a:r>
            <a:r>
              <a:rPr lang="de-DE" sz="2000" b="1" kern="0" dirty="0" err="1"/>
              <a:t>go</a:t>
            </a:r>
            <a:r>
              <a:rPr lang="de-DE" sz="2000" b="1" kern="0" dirty="0"/>
              <a:t> </a:t>
            </a:r>
            <a:r>
              <a:rPr lang="de-DE" sz="2000" b="1" kern="0" dirty="0" err="1"/>
              <a:t>to</a:t>
            </a:r>
            <a:r>
              <a:rPr lang="de-DE" sz="2000" b="1" kern="0" dirty="0"/>
              <a:t> AWS</a:t>
            </a:r>
          </a:p>
          <a:p>
            <a:pPr marL="742950" lvl="1" indent="-285750" algn="l">
              <a:lnSpc>
                <a:spcPct val="15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kern="0" dirty="0" err="1"/>
              <a:t>Use</a:t>
            </a:r>
            <a:r>
              <a:rPr lang="de-DE" sz="2000" kern="0" dirty="0"/>
              <a:t> </a:t>
            </a:r>
            <a:r>
              <a:rPr lang="de-DE" sz="2000" kern="0" dirty="0" err="1"/>
              <a:t>the</a:t>
            </a:r>
            <a:r>
              <a:rPr lang="de-DE" sz="2000" kern="0" dirty="0"/>
              <a:t> </a:t>
            </a:r>
            <a:r>
              <a:rPr lang="de-DE" sz="2000" kern="0" dirty="0" err="1"/>
              <a:t>highest</a:t>
            </a:r>
            <a:r>
              <a:rPr lang="de-DE" sz="2000" kern="0" dirty="0"/>
              <a:t> </a:t>
            </a:r>
            <a:r>
              <a:rPr lang="de-DE" sz="2000" kern="0" dirty="0" err="1"/>
              <a:t>level</a:t>
            </a:r>
            <a:r>
              <a:rPr lang="de-DE" sz="2000" kern="0" dirty="0"/>
              <a:t> </a:t>
            </a:r>
            <a:r>
              <a:rPr lang="de-DE" sz="2000" kern="0" dirty="0" err="1"/>
              <a:t>availible</a:t>
            </a:r>
            <a:r>
              <a:rPr lang="de-DE" sz="2000" kern="0" dirty="0"/>
              <a:t> </a:t>
            </a:r>
            <a:r>
              <a:rPr lang="de-DE" sz="2000" kern="0" dirty="0" err="1"/>
              <a:t>service</a:t>
            </a:r>
            <a:endParaRPr lang="de-DE" sz="2000" kern="0" dirty="0"/>
          </a:p>
          <a:p>
            <a:pPr marL="742950" lvl="1" indent="-285750" algn="l">
              <a:lnSpc>
                <a:spcPct val="15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kern="0" dirty="0" err="1"/>
              <a:t>Dont</a:t>
            </a:r>
            <a:r>
              <a:rPr lang="de-DE" sz="2000" kern="0" dirty="0"/>
              <a:t> </a:t>
            </a:r>
            <a:r>
              <a:rPr lang="de-DE" sz="2000" kern="0" dirty="0" err="1"/>
              <a:t>build</a:t>
            </a:r>
            <a:r>
              <a:rPr lang="de-DE" sz="2000" kern="0" dirty="0"/>
              <a:t> </a:t>
            </a:r>
            <a:r>
              <a:rPr lang="de-DE" sz="2000" kern="0" dirty="0" err="1"/>
              <a:t>something</a:t>
            </a:r>
            <a:r>
              <a:rPr lang="de-DE" sz="2000" kern="0" dirty="0"/>
              <a:t> </a:t>
            </a:r>
            <a:r>
              <a:rPr lang="de-DE" sz="2000" kern="0" dirty="0" err="1"/>
              <a:t>the</a:t>
            </a:r>
            <a:r>
              <a:rPr lang="de-DE" sz="2000" kern="0" dirty="0"/>
              <a:t> </a:t>
            </a:r>
            <a:r>
              <a:rPr lang="de-DE" sz="2000" kern="0" dirty="0" err="1"/>
              <a:t>already</a:t>
            </a:r>
            <a:r>
              <a:rPr lang="de-DE" sz="2000" kern="0" dirty="0"/>
              <a:t> </a:t>
            </a:r>
            <a:r>
              <a:rPr lang="de-DE" sz="2000" kern="0" dirty="0" err="1"/>
              <a:t>exist</a:t>
            </a:r>
            <a:endParaRPr lang="de-DE" sz="2000" kern="0" dirty="0"/>
          </a:p>
          <a:p>
            <a:pPr marL="742950" lvl="1" indent="-285750" algn="l">
              <a:lnSpc>
                <a:spcPct val="15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kern="0" dirty="0" err="1"/>
              <a:t>Serverless</a:t>
            </a:r>
            <a:r>
              <a:rPr lang="de-DE" sz="2000" kern="0" dirty="0"/>
              <a:t>, </a:t>
            </a:r>
            <a:r>
              <a:rPr lang="de-DE" sz="2000" kern="0" dirty="0" err="1"/>
              <a:t>Step-function</a:t>
            </a:r>
            <a:r>
              <a:rPr lang="de-DE" sz="2000" kern="0" dirty="0"/>
              <a:t> </a:t>
            </a:r>
            <a:r>
              <a:rPr lang="de-DE" sz="2000" kern="0" dirty="0" err="1"/>
              <a:t>first</a:t>
            </a:r>
            <a:endParaRPr lang="de-DE" sz="2000" kern="0" dirty="0">
              <a:latin typeface="+mn-lt"/>
            </a:endParaRPr>
          </a:p>
          <a:p>
            <a:pPr marL="285750" lvl="0" indent="-285750" algn="l">
              <a:lnSpc>
                <a:spcPct val="15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b="1" kern="0" dirty="0" err="1">
                <a:latin typeface="+mn-lt"/>
              </a:rPr>
              <a:t>Avoid</a:t>
            </a:r>
            <a:r>
              <a:rPr lang="de-DE" sz="2000" b="1" kern="0" dirty="0">
                <a:latin typeface="+mn-lt"/>
              </a:rPr>
              <a:t> 1-way </a:t>
            </a:r>
            <a:r>
              <a:rPr lang="de-DE" sz="2000" b="1" kern="0" dirty="0" err="1">
                <a:latin typeface="+mn-lt"/>
              </a:rPr>
              <a:t>door</a:t>
            </a:r>
            <a:r>
              <a:rPr lang="de-DE" sz="2000" b="1" kern="0" dirty="0">
                <a:latin typeface="+mn-lt"/>
              </a:rPr>
              <a:t> </a:t>
            </a:r>
            <a:r>
              <a:rPr lang="de-DE" sz="2000" b="1" kern="0" dirty="0" err="1">
                <a:latin typeface="+mn-lt"/>
              </a:rPr>
              <a:t>decisions</a:t>
            </a:r>
            <a:endParaRPr lang="de-DE" sz="2000" b="1" kern="0" dirty="0">
              <a:latin typeface="+mn-lt"/>
            </a:endParaRPr>
          </a:p>
          <a:p>
            <a:pPr marL="285750" indent="-285750" algn="l">
              <a:lnSpc>
                <a:spcPct val="15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b="1" kern="0" dirty="0" err="1">
                <a:latin typeface="+mn-lt"/>
              </a:rPr>
              <a:t>Invest</a:t>
            </a:r>
            <a:r>
              <a:rPr lang="de-DE" sz="2000" b="1" kern="0" dirty="0">
                <a:latin typeface="+mn-lt"/>
              </a:rPr>
              <a:t> </a:t>
            </a:r>
            <a:r>
              <a:rPr lang="de-DE" sz="2000" b="1" kern="0" dirty="0" err="1">
                <a:latin typeface="+mn-lt"/>
              </a:rPr>
              <a:t>ones</a:t>
            </a:r>
            <a:r>
              <a:rPr lang="de-DE" sz="2000" b="1" kern="0" dirty="0">
                <a:latin typeface="+mn-lt"/>
              </a:rPr>
              <a:t>, </a:t>
            </a:r>
            <a:r>
              <a:rPr lang="de-DE" sz="2000" b="1" kern="0" dirty="0" err="1">
                <a:latin typeface="+mn-lt"/>
              </a:rPr>
              <a:t>use</a:t>
            </a:r>
            <a:r>
              <a:rPr lang="de-DE" sz="2000" b="1" kern="0" dirty="0">
                <a:latin typeface="+mn-lt"/>
              </a:rPr>
              <a:t> multiple </a:t>
            </a:r>
            <a:r>
              <a:rPr lang="de-DE" sz="2000" b="1" kern="0" dirty="0" err="1">
                <a:latin typeface="+mn-lt"/>
              </a:rPr>
              <a:t>times</a:t>
            </a:r>
            <a:r>
              <a:rPr lang="de-DE" sz="2000" b="1" kern="0" dirty="0">
                <a:latin typeface="+mn-lt"/>
              </a:rPr>
              <a:t> – </a:t>
            </a:r>
            <a:r>
              <a:rPr lang="de-DE" sz="2000" kern="0" dirty="0">
                <a:latin typeface="+mn-lt"/>
              </a:rPr>
              <a:t>Central vs. </a:t>
            </a:r>
            <a:r>
              <a:rPr lang="de-DE" sz="2000" kern="0" dirty="0" err="1">
                <a:latin typeface="+mn-lt"/>
              </a:rPr>
              <a:t>Localised</a:t>
            </a:r>
            <a:endParaRPr lang="de-DE" sz="2000" kern="0" dirty="0">
              <a:latin typeface="+mn-lt"/>
            </a:endParaRPr>
          </a:p>
          <a:p>
            <a:pPr marL="285750" indent="-285750" algn="l">
              <a:lnSpc>
                <a:spcPct val="15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b="1" kern="0" dirty="0" err="1">
                <a:latin typeface="+mn-lt"/>
              </a:rPr>
              <a:t>Consolidated</a:t>
            </a:r>
            <a:r>
              <a:rPr lang="de-DE" sz="2000" b="1" kern="0" dirty="0">
                <a:latin typeface="+mn-lt"/>
              </a:rPr>
              <a:t> large </a:t>
            </a:r>
            <a:r>
              <a:rPr lang="de-DE" sz="2000" b="1" kern="0" dirty="0" err="1">
                <a:latin typeface="+mn-lt"/>
              </a:rPr>
              <a:t>business</a:t>
            </a:r>
            <a:r>
              <a:rPr lang="de-DE" sz="2000" b="1" kern="0" dirty="0">
                <a:latin typeface="+mn-lt"/>
              </a:rPr>
              <a:t> </a:t>
            </a:r>
            <a:r>
              <a:rPr lang="de-DE" sz="2000" b="1" kern="0" dirty="0" err="1">
                <a:latin typeface="+mn-lt"/>
              </a:rPr>
              <a:t>values</a:t>
            </a:r>
            <a:r>
              <a:rPr lang="de-DE" sz="2000" b="1" kern="0" dirty="0">
                <a:latin typeface="+mn-lt"/>
              </a:rPr>
              <a:t> </a:t>
            </a:r>
            <a:r>
              <a:rPr lang="de-DE" sz="2000" b="1" kern="0" dirty="0" err="1">
                <a:latin typeface="+mn-lt"/>
              </a:rPr>
              <a:t>first</a:t>
            </a:r>
            <a:r>
              <a:rPr lang="de-DE" sz="2000" b="1" kern="0" dirty="0">
                <a:latin typeface="+mn-lt"/>
              </a:rPr>
              <a:t> – </a:t>
            </a:r>
            <a:r>
              <a:rPr lang="de-DE" sz="2000" kern="0" dirty="0" err="1">
                <a:latin typeface="+mn-lt"/>
              </a:rPr>
              <a:t>minimise</a:t>
            </a:r>
            <a:r>
              <a:rPr lang="de-DE" sz="2000" kern="0" dirty="0">
                <a:latin typeface="+mn-lt"/>
              </a:rPr>
              <a:t> </a:t>
            </a:r>
            <a:r>
              <a:rPr lang="de-DE" sz="2000" kern="0" dirty="0" err="1">
                <a:latin typeface="+mn-lt"/>
              </a:rPr>
              <a:t>delayed</a:t>
            </a:r>
            <a:r>
              <a:rPr lang="de-DE" sz="2000" kern="0" dirty="0">
                <a:latin typeface="+mn-lt"/>
              </a:rPr>
              <a:t> </a:t>
            </a:r>
            <a:r>
              <a:rPr lang="de-DE" sz="2000" kern="0" dirty="0" err="1">
                <a:latin typeface="+mn-lt"/>
              </a:rPr>
              <a:t>benefits</a:t>
            </a:r>
            <a:endParaRPr lang="de-DE" sz="2000" kern="0" dirty="0">
              <a:latin typeface="+mn-lt"/>
            </a:endParaRPr>
          </a:p>
          <a:p>
            <a:pPr marL="285750" indent="-285750" algn="l">
              <a:lnSpc>
                <a:spcPct val="15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b="1" kern="0" dirty="0">
                <a:latin typeface="+mn-lt"/>
              </a:rPr>
              <a:t>Break </a:t>
            </a:r>
            <a:r>
              <a:rPr lang="de-DE" sz="2000" b="1" kern="0" dirty="0" err="1">
                <a:latin typeface="+mn-lt"/>
              </a:rPr>
              <a:t>the</a:t>
            </a:r>
            <a:r>
              <a:rPr lang="de-DE" sz="2000" b="1" kern="0" dirty="0">
                <a:latin typeface="+mn-lt"/>
              </a:rPr>
              <a:t> </a:t>
            </a:r>
            <a:r>
              <a:rPr lang="de-DE" sz="2000" b="1" kern="0" dirty="0" err="1">
                <a:latin typeface="+mn-lt"/>
              </a:rPr>
              <a:t>univers</a:t>
            </a:r>
            <a:r>
              <a:rPr lang="de-DE" sz="2000" b="1" kern="0" dirty="0">
                <a:latin typeface="+mn-lt"/>
              </a:rPr>
              <a:t> </a:t>
            </a:r>
            <a:r>
              <a:rPr lang="de-DE" sz="2000" b="1" kern="0" dirty="0" err="1">
                <a:latin typeface="+mn-lt"/>
              </a:rPr>
              <a:t>into</a:t>
            </a:r>
            <a:r>
              <a:rPr lang="de-DE" sz="2000" b="1" kern="0" dirty="0">
                <a:latin typeface="+mn-lt"/>
              </a:rPr>
              <a:t> </a:t>
            </a:r>
            <a:r>
              <a:rPr lang="de-DE" sz="2000" b="1" kern="0" dirty="0" err="1">
                <a:latin typeface="+mn-lt"/>
              </a:rPr>
              <a:t>smaller</a:t>
            </a:r>
            <a:r>
              <a:rPr lang="de-DE" sz="2000" b="1" kern="0" dirty="0">
                <a:latin typeface="+mn-lt"/>
              </a:rPr>
              <a:t> </a:t>
            </a:r>
            <a:r>
              <a:rPr lang="de-DE" sz="2000" b="1" kern="0" dirty="0" err="1">
                <a:latin typeface="+mn-lt"/>
              </a:rPr>
              <a:t>parts</a:t>
            </a:r>
            <a:r>
              <a:rPr lang="de-DE" sz="2000" b="1" kern="0" dirty="0">
                <a:latin typeface="+mn-lt"/>
              </a:rPr>
              <a:t> </a:t>
            </a:r>
            <a:r>
              <a:rPr lang="de-DE" sz="2000" kern="0" dirty="0">
                <a:latin typeface="+mn-lt"/>
              </a:rPr>
              <a:t>– </a:t>
            </a:r>
            <a:r>
              <a:rPr lang="de-DE" sz="2000" kern="0" dirty="0" err="1">
                <a:latin typeface="+mn-lt"/>
              </a:rPr>
              <a:t>nothing</a:t>
            </a:r>
            <a:r>
              <a:rPr lang="de-DE" sz="2000" kern="0" dirty="0">
                <a:latin typeface="+mn-lt"/>
              </a:rPr>
              <a:t> </a:t>
            </a:r>
            <a:r>
              <a:rPr lang="de-DE" sz="2000" kern="0" dirty="0" err="1">
                <a:latin typeface="+mn-lt"/>
              </a:rPr>
              <a:t>bigger</a:t>
            </a:r>
            <a:r>
              <a:rPr lang="de-DE" sz="2000" kern="0" dirty="0">
                <a:latin typeface="+mn-lt"/>
              </a:rPr>
              <a:t> </a:t>
            </a:r>
            <a:r>
              <a:rPr lang="de-DE" sz="2000" kern="0" dirty="0" err="1">
                <a:latin typeface="+mn-lt"/>
              </a:rPr>
              <a:t>than</a:t>
            </a:r>
            <a:r>
              <a:rPr lang="de-DE" sz="2000" kern="0" dirty="0">
                <a:latin typeface="+mn-lt"/>
              </a:rPr>
              <a:t> 1 </a:t>
            </a:r>
            <a:r>
              <a:rPr lang="de-DE" sz="2000" kern="0" dirty="0" err="1">
                <a:latin typeface="+mn-lt"/>
              </a:rPr>
              <a:t>increment</a:t>
            </a:r>
            <a:r>
              <a:rPr lang="de-DE" sz="2000" kern="0" dirty="0">
                <a:latin typeface="+mn-lt"/>
              </a:rPr>
              <a:t> (6 </a:t>
            </a:r>
            <a:r>
              <a:rPr lang="de-DE" sz="2000" kern="0" dirty="0" err="1">
                <a:latin typeface="+mn-lt"/>
              </a:rPr>
              <a:t>weeks</a:t>
            </a:r>
            <a:r>
              <a:rPr lang="de-DE" sz="2000" kern="0" dirty="0">
                <a:latin typeface="+mn-lt"/>
              </a:rPr>
              <a:t>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C6989C-096A-A645-A30B-E55C854DB6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640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" name="Picture 2" descr="H:\my documents\_important\PowerPoint templates\d_powerpoint_cover_4x3\d_powerpoint_cover_4x3\d_powerpoint_cover_4x3\d_powerpoint_cover_4x3\d_powerpoint_4x3_image2.jpg">
            <a:extLst>
              <a:ext uri="{FF2B5EF4-FFF2-40B4-BE49-F238E27FC236}">
                <a16:creationId xmlns:a16="http://schemas.microsoft.com/office/drawing/2014/main" id="{38A926DC-675F-8C41-921E-1DE20654A0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0079"/>
            <a:ext cx="11522075" cy="6480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E69B1E5-1495-1146-AD77-73888308AA32}"/>
              </a:ext>
            </a:extLst>
          </p:cNvPr>
          <p:cNvSpPr txBox="1"/>
          <p:nvPr/>
        </p:nvSpPr>
        <p:spPr>
          <a:xfrm>
            <a:off x="259604" y="171192"/>
            <a:ext cx="4958345" cy="6186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Textbook Rules we broke</a:t>
            </a:r>
          </a:p>
        </p:txBody>
      </p:sp>
      <p:sp>
        <p:nvSpPr>
          <p:cNvPr id="125" name="Rechteck 14">
            <a:extLst>
              <a:ext uri="{FF2B5EF4-FFF2-40B4-BE49-F238E27FC236}">
                <a16:creationId xmlns:a16="http://schemas.microsoft.com/office/drawing/2014/main" id="{59885BE8-4AF2-7444-9D0F-9D36B914C2C6}"/>
              </a:ext>
            </a:extLst>
          </p:cNvPr>
          <p:cNvSpPr/>
          <p:nvPr/>
        </p:nvSpPr>
        <p:spPr bwMode="gray">
          <a:xfrm>
            <a:off x="249397" y="1100815"/>
            <a:ext cx="11023280" cy="3710215"/>
          </a:xfrm>
          <a:prstGeom prst="rect">
            <a:avLst/>
          </a:prstGeom>
          <a:solidFill>
            <a:schemeClr val="bg1">
              <a:alpha val="82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l">
              <a:lnSpc>
                <a:spcPct val="30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b="1" kern="0" dirty="0"/>
              <a:t>"Start </a:t>
            </a:r>
            <a:r>
              <a:rPr lang="de-DE" sz="2000" b="1" kern="0" dirty="0" err="1"/>
              <a:t>with</a:t>
            </a:r>
            <a:r>
              <a:rPr lang="de-DE" sz="2000" b="1" kern="0" dirty="0"/>
              <a:t> </a:t>
            </a:r>
            <a:r>
              <a:rPr lang="de-DE" sz="2000" b="1" kern="0" dirty="0" err="1"/>
              <a:t>small</a:t>
            </a:r>
            <a:r>
              <a:rPr lang="de-DE" sz="2000" b="1" kern="0" dirty="0"/>
              <a:t> </a:t>
            </a:r>
            <a:r>
              <a:rPr lang="de-DE" sz="2000" b="1" kern="0" dirty="0" err="1"/>
              <a:t>workload</a:t>
            </a:r>
            <a:r>
              <a:rPr lang="de-DE" sz="2000" b="1" kern="0" dirty="0"/>
              <a:t> </a:t>
            </a:r>
            <a:r>
              <a:rPr lang="de-DE" sz="2000" b="1" kern="0" dirty="0" err="1"/>
              <a:t>to</a:t>
            </a:r>
            <a:r>
              <a:rPr lang="de-DE" sz="2000" b="1" kern="0" dirty="0"/>
              <a:t> </a:t>
            </a:r>
            <a:r>
              <a:rPr lang="de-DE" sz="2000" b="1" kern="0" dirty="0" err="1"/>
              <a:t>migrate</a:t>
            </a:r>
            <a:r>
              <a:rPr lang="de-DE" sz="2000" b="1" kern="0" dirty="0"/>
              <a:t> </a:t>
            </a:r>
            <a:r>
              <a:rPr lang="de-DE" sz="2000" b="1" kern="0" dirty="0" err="1"/>
              <a:t>to</a:t>
            </a:r>
            <a:r>
              <a:rPr lang="de-DE" sz="2000" b="1" kern="0" dirty="0"/>
              <a:t> </a:t>
            </a:r>
            <a:r>
              <a:rPr lang="de-DE" sz="2000" b="1" kern="0" dirty="0" err="1"/>
              <a:t>the</a:t>
            </a:r>
            <a:r>
              <a:rPr lang="de-DE" sz="2000" b="1" kern="0" dirty="0"/>
              <a:t> </a:t>
            </a:r>
            <a:r>
              <a:rPr lang="de-DE" sz="2000" b="1" kern="0" dirty="0" err="1"/>
              <a:t>cloud</a:t>
            </a:r>
            <a:r>
              <a:rPr lang="de-DE" sz="2000" b="1" kern="0" dirty="0"/>
              <a:t>“ – </a:t>
            </a:r>
            <a:r>
              <a:rPr lang="de-DE" sz="2000" b="1" kern="0" dirty="0" err="1"/>
              <a:t>We</a:t>
            </a:r>
            <a:r>
              <a:rPr lang="de-DE" sz="2000" b="1" kern="0" dirty="0"/>
              <a:t> </a:t>
            </a:r>
            <a:r>
              <a:rPr lang="de-DE" sz="2000" b="1" kern="0" dirty="0" err="1"/>
              <a:t>started</a:t>
            </a:r>
            <a:r>
              <a:rPr lang="de-DE" sz="2000" b="1" kern="0" dirty="0"/>
              <a:t> </a:t>
            </a:r>
            <a:r>
              <a:rPr lang="de-DE" sz="2000" b="1" kern="0" dirty="0" err="1"/>
              <a:t>with</a:t>
            </a:r>
            <a:r>
              <a:rPr lang="de-DE" sz="2000" b="1" kern="0" dirty="0"/>
              <a:t> </a:t>
            </a:r>
            <a:r>
              <a:rPr lang="de-DE" sz="2000" b="1" kern="0" dirty="0" err="1"/>
              <a:t>most</a:t>
            </a:r>
            <a:r>
              <a:rPr lang="de-DE" sz="2000" b="1" kern="0" dirty="0"/>
              <a:t> </a:t>
            </a:r>
            <a:r>
              <a:rPr lang="de-DE" sz="2000" b="1" kern="0" dirty="0" err="1"/>
              <a:t>critical</a:t>
            </a:r>
            <a:r>
              <a:rPr lang="de-DE" sz="2000" b="1" kern="0" dirty="0"/>
              <a:t> </a:t>
            </a:r>
            <a:r>
              <a:rPr lang="de-DE" sz="2000" b="1" kern="0" dirty="0" err="1"/>
              <a:t>workload</a:t>
            </a:r>
            <a:endParaRPr lang="de-DE" sz="2000" b="1" kern="0" dirty="0"/>
          </a:p>
          <a:p>
            <a:pPr marL="285750" indent="-285750" algn="l">
              <a:lnSpc>
                <a:spcPct val="30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b="1" kern="0" dirty="0"/>
              <a:t>„Lift </a:t>
            </a:r>
            <a:r>
              <a:rPr lang="de-DE" sz="2000" b="1" kern="0" dirty="0" err="1"/>
              <a:t>and</a:t>
            </a:r>
            <a:r>
              <a:rPr lang="de-DE" sz="2000" b="1" kern="0" dirty="0"/>
              <a:t> </a:t>
            </a:r>
            <a:r>
              <a:rPr lang="de-DE" sz="2000" b="1" kern="0" dirty="0" err="1"/>
              <a:t>shift</a:t>
            </a:r>
            <a:r>
              <a:rPr lang="de-DE" sz="2000" b="1" kern="0" dirty="0"/>
              <a:t> </a:t>
            </a:r>
            <a:r>
              <a:rPr lang="de-DE" sz="2000" b="1" kern="0" dirty="0" err="1"/>
              <a:t>workloads</a:t>
            </a:r>
            <a:r>
              <a:rPr lang="de-DE" sz="2000" b="1" kern="0" dirty="0"/>
              <a:t> </a:t>
            </a:r>
            <a:r>
              <a:rPr lang="de-DE" sz="2000" b="1" kern="0" dirty="0" err="1"/>
              <a:t>to</a:t>
            </a:r>
            <a:r>
              <a:rPr lang="de-DE" sz="2000" b="1" kern="0" dirty="0"/>
              <a:t> Cloud“ – </a:t>
            </a:r>
            <a:r>
              <a:rPr lang="de-DE" sz="2000" b="1" kern="0" dirty="0" err="1"/>
              <a:t>We</a:t>
            </a:r>
            <a:r>
              <a:rPr lang="de-DE" sz="2000" b="1" kern="0" dirty="0"/>
              <a:t> </a:t>
            </a:r>
            <a:r>
              <a:rPr lang="de-DE" sz="2000" b="1" kern="0" dirty="0" err="1"/>
              <a:t>rebuild</a:t>
            </a:r>
            <a:r>
              <a:rPr lang="de-DE" sz="2000" b="1" kern="0" dirty="0"/>
              <a:t> </a:t>
            </a:r>
            <a:r>
              <a:rPr lang="de-DE" sz="2000" b="1" kern="0" dirty="0" err="1"/>
              <a:t>net-new</a:t>
            </a:r>
            <a:r>
              <a:rPr lang="de-DE" sz="2000" b="1" kern="0" dirty="0"/>
              <a:t> </a:t>
            </a:r>
            <a:r>
              <a:rPr lang="de-DE" sz="2000" b="1" kern="0" dirty="0" err="1"/>
              <a:t>and</a:t>
            </a:r>
            <a:r>
              <a:rPr lang="de-DE" sz="2000" b="1" kern="0" dirty="0"/>
              <a:t> </a:t>
            </a:r>
            <a:r>
              <a:rPr lang="de-DE" sz="2000" b="1" kern="0" dirty="0" err="1"/>
              <a:t>retire</a:t>
            </a:r>
            <a:r>
              <a:rPr lang="de-DE" sz="2000" b="1" kern="0" dirty="0"/>
              <a:t> </a:t>
            </a:r>
            <a:r>
              <a:rPr lang="de-DE" sz="2000" b="1" kern="0" dirty="0" err="1"/>
              <a:t>legacy</a:t>
            </a:r>
            <a:r>
              <a:rPr lang="de-DE" sz="2000" b="1" kern="0" dirty="0"/>
              <a:t>. Focus on </a:t>
            </a:r>
            <a:r>
              <a:rPr lang="de-DE" sz="2000" b="1" kern="0" dirty="0" err="1"/>
              <a:t>rebuild</a:t>
            </a:r>
            <a:r>
              <a:rPr lang="de-DE" sz="2000" b="1" kern="0" dirty="0"/>
              <a:t> </a:t>
            </a:r>
            <a:r>
              <a:rPr lang="de-DE" sz="2000" b="1" kern="0" dirty="0" err="1"/>
              <a:t>of</a:t>
            </a:r>
            <a:r>
              <a:rPr lang="de-DE" sz="2000" b="1" kern="0" dirty="0"/>
              <a:t> 5R.</a:t>
            </a:r>
          </a:p>
          <a:p>
            <a:pPr marL="285750" lvl="0" indent="-285750" algn="l">
              <a:lnSpc>
                <a:spcPct val="30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b="1" kern="0" dirty="0">
                <a:latin typeface="+mn-lt"/>
              </a:rPr>
              <a:t>“Proof </a:t>
            </a:r>
            <a:r>
              <a:rPr lang="de-DE" sz="2000" b="1" kern="0" dirty="0" err="1">
                <a:latin typeface="+mn-lt"/>
              </a:rPr>
              <a:t>concept</a:t>
            </a:r>
            <a:r>
              <a:rPr lang="de-DE" sz="2000" b="1" kern="0" dirty="0">
                <a:latin typeface="+mn-lt"/>
              </a:rPr>
              <a:t> </a:t>
            </a:r>
            <a:r>
              <a:rPr lang="de-DE" sz="2000" b="1" kern="0" dirty="0" err="1">
                <a:latin typeface="+mn-lt"/>
              </a:rPr>
              <a:t>of</a:t>
            </a:r>
            <a:r>
              <a:rPr lang="de-DE" sz="2000" b="1" kern="0" dirty="0">
                <a:latin typeface="+mn-lt"/>
              </a:rPr>
              <a:t> agile initiatives </a:t>
            </a:r>
            <a:r>
              <a:rPr lang="de-DE" sz="2000" b="1" kern="0" dirty="0" err="1">
                <a:latin typeface="+mn-lt"/>
              </a:rPr>
              <a:t>then</a:t>
            </a:r>
            <a:r>
              <a:rPr lang="de-DE" sz="2000" b="1" kern="0" dirty="0">
                <a:latin typeface="+mn-lt"/>
              </a:rPr>
              <a:t> </a:t>
            </a:r>
            <a:r>
              <a:rPr lang="de-DE" sz="2000" b="1" kern="0" dirty="0" err="1">
                <a:latin typeface="+mn-lt"/>
              </a:rPr>
              <a:t>scale</a:t>
            </a:r>
            <a:r>
              <a:rPr lang="de-DE" sz="2000" b="1" kern="0" dirty="0">
                <a:latin typeface="+mn-lt"/>
              </a:rPr>
              <a:t>“ – </a:t>
            </a:r>
            <a:r>
              <a:rPr lang="de-DE" sz="2000" b="1" kern="0" dirty="0" err="1">
                <a:latin typeface="+mn-lt"/>
              </a:rPr>
              <a:t>We</a:t>
            </a:r>
            <a:r>
              <a:rPr lang="de-DE" sz="2000" b="1" kern="0" dirty="0">
                <a:latin typeface="+mn-lt"/>
              </a:rPr>
              <a:t> </a:t>
            </a:r>
            <a:r>
              <a:rPr lang="de-DE" sz="2000" b="1" kern="0" dirty="0" err="1">
                <a:latin typeface="+mn-lt"/>
              </a:rPr>
              <a:t>transform</a:t>
            </a:r>
            <a:r>
              <a:rPr lang="de-DE" sz="2000" b="1" kern="0" dirty="0">
                <a:latin typeface="+mn-lt"/>
              </a:rPr>
              <a:t> </a:t>
            </a:r>
            <a:r>
              <a:rPr lang="de-DE" sz="2000" b="1" kern="0" dirty="0" err="1">
                <a:latin typeface="+mn-lt"/>
              </a:rPr>
              <a:t>Globally</a:t>
            </a:r>
            <a:r>
              <a:rPr lang="de-DE" sz="2000" b="1" kern="0" dirty="0">
                <a:latin typeface="+mn-lt"/>
              </a:rPr>
              <a:t> </a:t>
            </a:r>
            <a:r>
              <a:rPr lang="de-DE" sz="2000" b="1" kern="0" dirty="0" err="1">
                <a:latin typeface="+mn-lt"/>
              </a:rPr>
              <a:t>to</a:t>
            </a:r>
            <a:r>
              <a:rPr lang="de-DE" sz="2000" b="1" kern="0" dirty="0">
                <a:latin typeface="+mn-lt"/>
              </a:rPr>
              <a:t> Agile </a:t>
            </a:r>
            <a:r>
              <a:rPr lang="de-DE" sz="2000" b="1" kern="0" dirty="0" err="1">
                <a:latin typeface="+mn-lt"/>
              </a:rPr>
              <a:t>and</a:t>
            </a:r>
            <a:r>
              <a:rPr lang="de-DE" sz="2000" b="1" kern="0" dirty="0">
                <a:latin typeface="+mn-lt"/>
              </a:rPr>
              <a:t> </a:t>
            </a:r>
            <a:r>
              <a:rPr lang="de-DE" sz="2000" b="1" kern="0" dirty="0" err="1">
                <a:latin typeface="+mn-lt"/>
              </a:rPr>
              <a:t>Product</a:t>
            </a:r>
            <a:r>
              <a:rPr lang="de-DE" sz="2000" b="1" kern="0" dirty="0">
                <a:latin typeface="+mn-lt"/>
              </a:rPr>
              <a:t>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5CB9B6-CAC7-2A48-A4B1-454F59FEAD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1A0D2D2-CE75-8143-AF3A-DC9E43792377}"/>
              </a:ext>
            </a:extLst>
          </p:cNvPr>
          <p:cNvSpPr txBox="1"/>
          <p:nvPr/>
        </p:nvSpPr>
        <p:spPr>
          <a:xfrm>
            <a:off x="3168749" y="5379360"/>
            <a:ext cx="4706801" cy="501676"/>
          </a:xfrm>
          <a:prstGeom prst="rect">
            <a:avLst/>
          </a:prstGeom>
          <a:solidFill>
            <a:schemeClr val="bg1">
              <a:alpha val="72090"/>
            </a:schemeClr>
          </a:solidFill>
        </p:spPr>
        <p:txBody>
          <a:bodyPr wrap="none" rtlCol="0">
            <a:spAutoFit/>
          </a:bodyPr>
          <a:lstStyle/>
          <a:p>
            <a:pPr algn="l"/>
            <a:r>
              <a:rPr lang="en-US" sz="2800" dirty="0"/>
              <a:t>Be brave and start the journey</a:t>
            </a:r>
          </a:p>
        </p:txBody>
      </p:sp>
    </p:spTree>
    <p:extLst>
      <p:ext uri="{BB962C8B-B14F-4D97-AF65-F5344CB8AC3E}">
        <p14:creationId xmlns:p14="http://schemas.microsoft.com/office/powerpoint/2010/main" val="297343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tanding in front of a white circle&#10;&#10;Description automatically generated with low confidence">
            <a:extLst>
              <a:ext uri="{FF2B5EF4-FFF2-40B4-BE49-F238E27FC236}">
                <a16:creationId xmlns:a16="http://schemas.microsoft.com/office/drawing/2014/main" id="{12C0B1E1-68BD-EB41-8FDE-B08892E7F06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262" y="620713"/>
            <a:ext cx="10595550" cy="5238747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are we doing now and how can you help? </a:t>
            </a:r>
          </a:p>
        </p:txBody>
      </p:sp>
    </p:spTree>
    <p:extLst>
      <p:ext uri="{BB962C8B-B14F-4D97-AF65-F5344CB8AC3E}">
        <p14:creationId xmlns:p14="http://schemas.microsoft.com/office/powerpoint/2010/main" val="1053924232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91269" y="2880047"/>
            <a:ext cx="10512425" cy="1262981"/>
          </a:xfrm>
        </p:spPr>
        <p:txBody>
          <a:bodyPr/>
          <a:lstStyle/>
          <a:p>
            <a:r>
              <a:rPr lang="en-GB" dirty="0"/>
              <a:t>	    	</a:t>
            </a:r>
            <a:r>
              <a:rPr lang="en-GB" dirty="0" err="1"/>
              <a:t>Linkedin</a:t>
            </a:r>
            <a:r>
              <a:rPr lang="en-GB" dirty="0"/>
              <a:t>/in/</a:t>
            </a:r>
            <a:r>
              <a:rPr lang="en-GB" dirty="0" err="1"/>
              <a:t>jordaanpieter</a:t>
            </a:r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		</a:t>
            </a:r>
            <a:r>
              <a:rPr lang="en-GB" dirty="0" err="1"/>
              <a:t>Pieter.Jordaan@tui.com</a:t>
            </a:r>
            <a:endParaRPr lang="en-GB" dirty="0"/>
          </a:p>
          <a:p>
            <a:endParaRPr lang="en-GB" dirty="0"/>
          </a:p>
        </p:txBody>
      </p:sp>
      <p:pic>
        <p:nvPicPr>
          <p:cNvPr id="7" name="Picture 12" descr="C:\Users\lorensi\Pictures\icons\linkedind.png">
            <a:extLst>
              <a:ext uri="{FF2B5EF4-FFF2-40B4-BE49-F238E27FC236}">
                <a16:creationId xmlns:a16="http://schemas.microsoft.com/office/drawing/2014/main" id="{6FA31505-0AD0-744E-89FC-AC926F9CC0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5600" y="2762056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7" descr="C:\Users\lorensi\Downloads\png\tui-smile-tui.png">
            <a:extLst>
              <a:ext uri="{FF2B5EF4-FFF2-40B4-BE49-F238E27FC236}">
                <a16:creationId xmlns:a16="http://schemas.microsoft.com/office/drawing/2014/main" id="{41CC867B-0147-AE4B-932F-F380612292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1269" y="3914975"/>
            <a:ext cx="1052286" cy="1052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98502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 bwMode="gray">
          <a:xfrm>
            <a:off x="705600" y="6002426"/>
            <a:ext cx="8412670" cy="13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800" kern="1200">
                <a:solidFill>
                  <a:schemeClr val="bg1"/>
                </a:solidFill>
                <a:latin typeface="TUIType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888255" y="4238554"/>
            <a:ext cx="5625309" cy="612368"/>
          </a:xfrm>
        </p:spPr>
        <p:txBody>
          <a:bodyPr/>
          <a:lstStyle/>
          <a:p>
            <a:r>
              <a:rPr lang="en-GB" sz="2800" dirty="0"/>
              <a:t>Pieter Jordaan – TUI Group CTO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705600" y="4872475"/>
            <a:ext cx="10512425" cy="612368"/>
          </a:xfrm>
        </p:spPr>
        <p:txBody>
          <a:bodyPr/>
          <a:lstStyle/>
          <a:p>
            <a:r>
              <a:rPr lang="en-GB" dirty="0"/>
              <a:t>	    	</a:t>
            </a:r>
            <a:r>
              <a:rPr lang="en-GB" dirty="0" err="1"/>
              <a:t>Linkedin</a:t>
            </a:r>
            <a:r>
              <a:rPr lang="en-GB" dirty="0"/>
              <a:t>/in/</a:t>
            </a:r>
            <a:r>
              <a:rPr lang="en-GB" dirty="0" err="1"/>
              <a:t>jordaanpieter</a:t>
            </a:r>
            <a:endParaRPr lang="en-GB" dirty="0"/>
          </a:p>
          <a:p>
            <a:r>
              <a:rPr lang="en-GB" dirty="0"/>
              <a:t>		</a:t>
            </a:r>
            <a:r>
              <a:rPr lang="en-GB" dirty="0" err="1"/>
              <a:t>Pieter.Jordaan@tui.com</a:t>
            </a:r>
            <a:endParaRPr lang="en-GB" dirty="0"/>
          </a:p>
          <a:p>
            <a:endParaRPr lang="en-GB" dirty="0"/>
          </a:p>
        </p:txBody>
      </p:sp>
      <p:pic>
        <p:nvPicPr>
          <p:cNvPr id="7" name="Picture 12" descr="C:\Users\lorensi\Pictures\icons\linkedind.png">
            <a:extLst>
              <a:ext uri="{FF2B5EF4-FFF2-40B4-BE49-F238E27FC236}">
                <a16:creationId xmlns:a16="http://schemas.microsoft.com/office/drawing/2014/main" id="{6FA31505-0AD0-744E-89FC-AC926F9CC0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171" y="4590139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7" descr="C:\Users\lorensi\Downloads\png\tui-smile-tui.png">
            <a:extLst>
              <a:ext uri="{FF2B5EF4-FFF2-40B4-BE49-F238E27FC236}">
                <a16:creationId xmlns:a16="http://schemas.microsoft.com/office/drawing/2014/main" id="{41CC867B-0147-AE4B-932F-F380612292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171" y="5018173"/>
            <a:ext cx="1052286" cy="1052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A person wearing glasses&#10;&#10;Description automatically generated with medium confidence">
            <a:extLst>
              <a:ext uri="{FF2B5EF4-FFF2-40B4-BE49-F238E27FC236}">
                <a16:creationId xmlns:a16="http://schemas.microsoft.com/office/drawing/2014/main" id="{FD42D5BA-9D2A-6C46-B27C-EA2A8398F77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171" y="1860777"/>
            <a:ext cx="1898526" cy="1790202"/>
          </a:xfrm>
          <a:prstGeom prst="rect">
            <a:avLst/>
          </a:prstGeom>
        </p:spPr>
      </p:pic>
      <p:pic>
        <p:nvPicPr>
          <p:cNvPr id="10" name="Picture 9" descr="A picture containing person, wall, person, indoor&#10;&#10;Description automatically generated">
            <a:extLst>
              <a:ext uri="{FF2B5EF4-FFF2-40B4-BE49-F238E27FC236}">
                <a16:creationId xmlns:a16="http://schemas.microsoft.com/office/drawing/2014/main" id="{74A24904-B3D1-0E4F-8045-04D68DA0061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84772" y="4176191"/>
            <a:ext cx="1224137" cy="1374227"/>
          </a:xfrm>
          <a:prstGeom prst="rect">
            <a:avLst/>
          </a:prstGeom>
        </p:spPr>
      </p:pic>
      <p:cxnSp>
        <p:nvCxnSpPr>
          <p:cNvPr id="12" name="Elbow Connector 11">
            <a:extLst>
              <a:ext uri="{FF2B5EF4-FFF2-40B4-BE49-F238E27FC236}">
                <a16:creationId xmlns:a16="http://schemas.microsoft.com/office/drawing/2014/main" id="{948CF122-DC76-8F47-A610-94F72085D77C}"/>
              </a:ext>
            </a:extLst>
          </p:cNvPr>
          <p:cNvCxnSpPr>
            <a:cxnSpLocks/>
            <a:endCxn id="10" idx="1"/>
          </p:cNvCxnSpPr>
          <p:nvPr/>
        </p:nvCxnSpPr>
        <p:spPr bwMode="auto">
          <a:xfrm>
            <a:off x="1872605" y="3650979"/>
            <a:ext cx="1512167" cy="1212326"/>
          </a:xfrm>
          <a:prstGeom prst="bentConnector3">
            <a:avLst>
              <a:gd name="adj1" fmla="val 971"/>
            </a:avLst>
          </a:prstGeom>
          <a:solidFill>
            <a:schemeClr val="bg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Title 4">
            <a:extLst>
              <a:ext uri="{FF2B5EF4-FFF2-40B4-BE49-F238E27FC236}">
                <a16:creationId xmlns:a16="http://schemas.microsoft.com/office/drawing/2014/main" id="{E518C754-A8B2-D041-B42A-93A720E88E2E}"/>
              </a:ext>
            </a:extLst>
          </p:cNvPr>
          <p:cNvSpPr txBox="1">
            <a:spLocks/>
          </p:cNvSpPr>
          <p:nvPr/>
        </p:nvSpPr>
        <p:spPr bwMode="gray">
          <a:xfrm>
            <a:off x="1064401" y="679619"/>
            <a:ext cx="8945108" cy="6123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282575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tabLst>
                <a:tab pos="282575" algn="l"/>
              </a:tabLst>
              <a:defRPr sz="4000" b="1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282575" rtl="0" eaLnBrk="1" fontAlgn="base" hangingPunct="1">
              <a:lnSpc>
                <a:spcPts val="3100"/>
              </a:lnSpc>
              <a:spcBef>
                <a:spcPct val="0"/>
              </a:spcBef>
              <a:spcAft>
                <a:spcPct val="0"/>
              </a:spcAft>
              <a:tabLst>
                <a:tab pos="282575" algn="l"/>
              </a:tabLst>
              <a:defRPr sz="2800">
                <a:solidFill>
                  <a:schemeClr val="tx2"/>
                </a:solidFill>
                <a:latin typeface="TUIType" pitchFamily="34" charset="0"/>
              </a:defRPr>
            </a:lvl2pPr>
            <a:lvl3pPr algn="l" defTabSz="282575" rtl="0" eaLnBrk="1" fontAlgn="base" hangingPunct="1">
              <a:lnSpc>
                <a:spcPts val="3100"/>
              </a:lnSpc>
              <a:spcBef>
                <a:spcPct val="0"/>
              </a:spcBef>
              <a:spcAft>
                <a:spcPct val="0"/>
              </a:spcAft>
              <a:tabLst>
                <a:tab pos="282575" algn="l"/>
              </a:tabLst>
              <a:defRPr sz="2800">
                <a:solidFill>
                  <a:schemeClr val="tx2"/>
                </a:solidFill>
                <a:latin typeface="TUIType" pitchFamily="34" charset="0"/>
              </a:defRPr>
            </a:lvl3pPr>
            <a:lvl4pPr algn="l" defTabSz="282575" rtl="0" eaLnBrk="1" fontAlgn="base" hangingPunct="1">
              <a:lnSpc>
                <a:spcPts val="3100"/>
              </a:lnSpc>
              <a:spcBef>
                <a:spcPct val="0"/>
              </a:spcBef>
              <a:spcAft>
                <a:spcPct val="0"/>
              </a:spcAft>
              <a:tabLst>
                <a:tab pos="282575" algn="l"/>
              </a:tabLst>
              <a:defRPr sz="2800">
                <a:solidFill>
                  <a:schemeClr val="tx2"/>
                </a:solidFill>
                <a:latin typeface="TUIType" pitchFamily="34" charset="0"/>
              </a:defRPr>
            </a:lvl4pPr>
            <a:lvl5pPr algn="l" defTabSz="282575" rtl="0" eaLnBrk="1" fontAlgn="base" hangingPunct="1">
              <a:lnSpc>
                <a:spcPts val="3100"/>
              </a:lnSpc>
              <a:spcBef>
                <a:spcPct val="0"/>
              </a:spcBef>
              <a:spcAft>
                <a:spcPct val="0"/>
              </a:spcAft>
              <a:tabLst>
                <a:tab pos="282575" algn="l"/>
              </a:tabLst>
              <a:defRPr sz="2800">
                <a:solidFill>
                  <a:schemeClr val="tx2"/>
                </a:solidFill>
                <a:latin typeface="TUIType" pitchFamily="34" charset="0"/>
              </a:defRPr>
            </a:lvl5pPr>
            <a:lvl6pPr marL="457200" algn="l" defTabSz="282575" rtl="0" eaLnBrk="1" fontAlgn="base" hangingPunct="1">
              <a:lnSpc>
                <a:spcPts val="3100"/>
              </a:lnSpc>
              <a:spcBef>
                <a:spcPct val="0"/>
              </a:spcBef>
              <a:spcAft>
                <a:spcPct val="0"/>
              </a:spcAft>
              <a:tabLst>
                <a:tab pos="282575" algn="l"/>
              </a:tabLst>
              <a:defRPr sz="2800">
                <a:solidFill>
                  <a:schemeClr val="tx2"/>
                </a:solidFill>
                <a:latin typeface="TUIType" pitchFamily="34" charset="0"/>
              </a:defRPr>
            </a:lvl6pPr>
            <a:lvl7pPr marL="914400" algn="l" defTabSz="282575" rtl="0" eaLnBrk="1" fontAlgn="base" hangingPunct="1">
              <a:lnSpc>
                <a:spcPts val="3100"/>
              </a:lnSpc>
              <a:spcBef>
                <a:spcPct val="0"/>
              </a:spcBef>
              <a:spcAft>
                <a:spcPct val="0"/>
              </a:spcAft>
              <a:tabLst>
                <a:tab pos="282575" algn="l"/>
              </a:tabLst>
              <a:defRPr sz="2800">
                <a:solidFill>
                  <a:schemeClr val="tx2"/>
                </a:solidFill>
                <a:latin typeface="TUIType" pitchFamily="34" charset="0"/>
              </a:defRPr>
            </a:lvl7pPr>
            <a:lvl8pPr marL="1371600" algn="l" defTabSz="282575" rtl="0" eaLnBrk="1" fontAlgn="base" hangingPunct="1">
              <a:lnSpc>
                <a:spcPts val="3100"/>
              </a:lnSpc>
              <a:spcBef>
                <a:spcPct val="0"/>
              </a:spcBef>
              <a:spcAft>
                <a:spcPct val="0"/>
              </a:spcAft>
              <a:tabLst>
                <a:tab pos="282575" algn="l"/>
              </a:tabLst>
              <a:defRPr sz="2800">
                <a:solidFill>
                  <a:schemeClr val="tx2"/>
                </a:solidFill>
                <a:latin typeface="TUIType" pitchFamily="34" charset="0"/>
              </a:defRPr>
            </a:lvl8pPr>
            <a:lvl9pPr marL="1828800" algn="l" defTabSz="282575" rtl="0" eaLnBrk="1" fontAlgn="base" hangingPunct="1">
              <a:lnSpc>
                <a:spcPts val="3100"/>
              </a:lnSpc>
              <a:spcBef>
                <a:spcPct val="0"/>
              </a:spcBef>
              <a:spcAft>
                <a:spcPct val="0"/>
              </a:spcAft>
              <a:tabLst>
                <a:tab pos="282575" algn="l"/>
              </a:tabLst>
              <a:defRPr sz="2800">
                <a:solidFill>
                  <a:schemeClr val="tx2"/>
                </a:solidFill>
                <a:latin typeface="TUIType" pitchFamily="34" charset="0"/>
              </a:defRPr>
            </a:lvl9pPr>
          </a:lstStyle>
          <a:p>
            <a:pPr>
              <a:buClrTx/>
              <a:buSzTx/>
              <a:buFontTx/>
            </a:pPr>
            <a:r>
              <a:rPr lang="en-GB" sz="2800" kern="0" dirty="0"/>
              <a:t>Group Who am I? </a:t>
            </a:r>
          </a:p>
        </p:txBody>
      </p:sp>
    </p:spTree>
    <p:extLst>
      <p:ext uri="{BB962C8B-B14F-4D97-AF65-F5344CB8AC3E}">
        <p14:creationId xmlns:p14="http://schemas.microsoft.com/office/powerpoint/2010/main" val="2634771529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sky, outdoor, wooden, day&#10;&#10;Description automatically generated">
            <a:extLst>
              <a:ext uri="{FF2B5EF4-FFF2-40B4-BE49-F238E27FC236}">
                <a16:creationId xmlns:a16="http://schemas.microsoft.com/office/drawing/2014/main" id="{219933C2-837E-764E-885B-484ABE3A1A7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1810" y="-5477"/>
            <a:ext cx="11665693" cy="6480175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C9780421-6080-EC4E-8A66-093DD9BAE8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413" y="314327"/>
            <a:ext cx="11377662" cy="765520"/>
          </a:xfrm>
        </p:spPr>
        <p:txBody>
          <a:bodyPr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Journey of €20 Billion Group to all-in Cloud, DevOps and Product </a:t>
            </a:r>
            <a:r>
              <a:rPr lang="en-US" sz="2800" dirty="0" err="1">
                <a:solidFill>
                  <a:schemeClr val="bg1"/>
                </a:solidFill>
              </a:rPr>
              <a:t>Organisation</a:t>
            </a:r>
            <a:br>
              <a:rPr lang="en-US" sz="2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during COVID Crisis</a:t>
            </a:r>
            <a:br>
              <a:rPr lang="en-US" sz="3600" dirty="0">
                <a:solidFill>
                  <a:schemeClr val="bg1"/>
                </a:solidFill>
              </a:rPr>
            </a:br>
            <a:br>
              <a:rPr lang="en-US" sz="3600" dirty="0">
                <a:solidFill>
                  <a:schemeClr val="bg1"/>
                </a:solidFill>
              </a:rPr>
            </a:b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BF24AF-7D8D-E745-9169-3F1EFA1B5E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UI Group | CTO  - Pieter Jordaan  | DOES Keynote|  2021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50FFF4-E697-8E45-AD8E-2DCDFB1AE471}"/>
              </a:ext>
            </a:extLst>
          </p:cNvPr>
          <p:cNvSpPr txBox="1"/>
          <p:nvPr/>
        </p:nvSpPr>
        <p:spPr>
          <a:xfrm>
            <a:off x="634116" y="3234611"/>
            <a:ext cx="10599529" cy="3080843"/>
          </a:xfrm>
          <a:prstGeom prst="rect">
            <a:avLst/>
          </a:prstGeom>
          <a:solidFill>
            <a:schemeClr val="bg1">
              <a:alpha val="78988"/>
            </a:schemeClr>
          </a:solidFill>
        </p:spPr>
        <p:txBody>
          <a:bodyPr wrap="square" rtlCol="0">
            <a:spAutoFit/>
          </a:bodyPr>
          <a:lstStyle/>
          <a:p>
            <a:pPr marL="285750" indent="-28575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How did we start?</a:t>
            </a:r>
          </a:p>
          <a:p>
            <a:pPr marL="285750" indent="-28575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How did we go from small local initiatives in 15 countries to Global, all-in transformation</a:t>
            </a:r>
          </a:p>
          <a:p>
            <a:pPr marL="285750" indent="-28575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How COVID accelerated our journey and the discoveries we made</a:t>
            </a:r>
          </a:p>
          <a:p>
            <a:pPr marL="285750" indent="-28575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The textbook rules we broke to achieve our goal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1508268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rafik 12">
            <a:extLst>
              <a:ext uri="{FF2B5EF4-FFF2-40B4-BE49-F238E27FC236}">
                <a16:creationId xmlns:a16="http://schemas.microsoft.com/office/drawing/2014/main" id="{B5EBF7BB-187D-4F62-9418-DC1DED5F41F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43" y="-72281"/>
            <a:ext cx="11516432" cy="6480175"/>
          </a:xfrm>
          <a:prstGeom prst="rect">
            <a:avLst/>
          </a:prstGeom>
        </p:spPr>
      </p:pic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47B3D089-17FB-4B89-8CD9-1F8696970B44}"/>
              </a:ext>
            </a:extLst>
          </p:cNvPr>
          <p:cNvGrpSpPr/>
          <p:nvPr/>
        </p:nvGrpSpPr>
        <p:grpSpPr>
          <a:xfrm>
            <a:off x="254602" y="5688290"/>
            <a:ext cx="11012871" cy="467823"/>
            <a:chOff x="251904" y="5763394"/>
            <a:chExt cx="11018267" cy="468052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91A1AA2C-2887-4630-BAFE-BA698EB66F20}"/>
                </a:ext>
              </a:extLst>
            </p:cNvPr>
            <p:cNvSpPr/>
            <p:nvPr/>
          </p:nvSpPr>
          <p:spPr bwMode="auto">
            <a:xfrm>
              <a:off x="251904" y="5763394"/>
              <a:ext cx="11018267" cy="468052"/>
            </a:xfrm>
            <a:prstGeom prst="rect">
              <a:avLst/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35982" tIns="0" rIns="35982" bIns="0" rtlCol="0" anchor="ctr"/>
            <a:lstStyle/>
            <a:p>
              <a:pPr algn="ctr">
                <a:lnSpc>
                  <a:spcPct val="80000"/>
                </a:lnSpc>
                <a:buClrTx/>
                <a:buSzTx/>
              </a:pPr>
              <a:endParaRPr lang="de-DE" sz="1399" b="1" kern="0" dirty="0">
                <a:latin typeface="TUIType Light" panose="020B0304030202020203" pitchFamily="34" charset="0"/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3B407B05-E844-4AD6-B964-3177EE62ADB0}"/>
                </a:ext>
              </a:extLst>
            </p:cNvPr>
            <p:cNvSpPr txBox="1"/>
            <p:nvPr/>
          </p:nvSpPr>
          <p:spPr>
            <a:xfrm>
              <a:off x="504825" y="6005367"/>
              <a:ext cx="271236" cy="1361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b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l">
                <a:buClrTx/>
                <a:buSzTx/>
                <a:buFontTx/>
                <a:buNone/>
                <a:defRPr sz="800"/>
              </a:lvl1pPr>
            </a:lstStyle>
            <a:p>
              <a:pPr lvl="0"/>
              <a:fld id="{BF68F70B-AC95-45BE-AEB8-15EAB33A653A}" type="slidenum">
                <a:rPr lang="de-DE">
                  <a:solidFill>
                    <a:schemeClr val="bg1"/>
                  </a:solidFill>
                  <a:latin typeface="TUIType Light" panose="020B0304030202020203" pitchFamily="34" charset="0"/>
                </a:rPr>
                <a:pPr lvl="0"/>
                <a:t>4</a:t>
              </a:fld>
              <a:endParaRPr lang="de-DE" dirty="0">
                <a:solidFill>
                  <a:schemeClr val="bg1"/>
                </a:solidFill>
                <a:latin typeface="TUIType Light" panose="020B0304030202020203" pitchFamily="34" charset="0"/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32D53C68-846E-4594-90F8-2AFE77D1FF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814410" y="5861902"/>
              <a:ext cx="338572" cy="271037"/>
            </a:xfrm>
            <a:prstGeom prst="rect">
              <a:avLst/>
            </a:prstGeom>
          </p:spPr>
        </p:pic>
      </p:grpSp>
      <p:sp>
        <p:nvSpPr>
          <p:cNvPr id="5" name="Titel 4">
            <a:extLst>
              <a:ext uri="{FF2B5EF4-FFF2-40B4-BE49-F238E27FC236}">
                <a16:creationId xmlns:a16="http://schemas.microsoft.com/office/drawing/2014/main" id="{A634D933-CE72-419F-9563-73B16A3B43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116" y="242048"/>
            <a:ext cx="10253845" cy="714350"/>
          </a:xfrm>
        </p:spPr>
        <p:txBody>
          <a:bodyPr/>
          <a:lstStyle/>
          <a:p>
            <a:r>
              <a:rPr lang="en-US" sz="3200" b="1" dirty="0">
                <a:solidFill>
                  <a:schemeClr val="bg1"/>
                </a:solidFill>
              </a:rPr>
              <a:t>The world’s number one integrated travel company</a:t>
            </a:r>
            <a:endParaRPr lang="de-DE" sz="3200" b="1" dirty="0">
              <a:solidFill>
                <a:schemeClr val="bg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2E415AB-47EC-4483-AFB7-7DE621A4C5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87036" y="5957500"/>
            <a:ext cx="8730242" cy="136067"/>
          </a:xfrm>
        </p:spPr>
        <p:txBody>
          <a:bodyPr/>
          <a:lstStyle/>
          <a:p>
            <a:r>
              <a:rPr lang="en-GB"/>
              <a:t>TUI Group | CTO  - Pieter Jordaan  | DOES Keynote|  2021</a:t>
            </a:r>
            <a:endParaRPr lang="en-GB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3CE9EAD-E7A8-444C-8B9C-D3F6F6B7A27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1935" y="5786750"/>
            <a:ext cx="338406" cy="270904"/>
          </a:xfrm>
          <a:prstGeom prst="rect">
            <a:avLst/>
          </a:prstGeom>
        </p:spPr>
      </p:pic>
      <p:sp>
        <p:nvSpPr>
          <p:cNvPr id="24" name="Rectangle 3">
            <a:extLst>
              <a:ext uri="{FF2B5EF4-FFF2-40B4-BE49-F238E27FC236}">
                <a16:creationId xmlns:a16="http://schemas.microsoft.com/office/drawing/2014/main" id="{07DA94BC-1F18-4EE9-A0AA-7559DB04B328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7036" y="863490"/>
            <a:ext cx="9419900" cy="554678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lIns="143929" tIns="71965" rIns="287859" bIns="71965" anchor="ctr" anchorCtr="0">
            <a:spAutoFit/>
          </a:bodyPr>
          <a:lstStyle/>
          <a:p>
            <a:pPr lv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70000"/>
            </a:pPr>
            <a:r>
              <a:rPr lang="de-DE" sz="2000" kern="0" dirty="0">
                <a:solidFill>
                  <a:schemeClr val="bg1"/>
                </a:solidFill>
              </a:rPr>
              <a:t>More </a:t>
            </a:r>
            <a:r>
              <a:rPr lang="de-DE" sz="2000" kern="0" dirty="0" err="1">
                <a:solidFill>
                  <a:schemeClr val="bg1"/>
                </a:solidFill>
              </a:rPr>
              <a:t>than</a:t>
            </a:r>
            <a:r>
              <a:rPr lang="de-DE" sz="2000" kern="0" dirty="0">
                <a:solidFill>
                  <a:schemeClr val="bg1"/>
                </a:solidFill>
              </a:rPr>
              <a:t> </a:t>
            </a:r>
            <a:r>
              <a:rPr lang="de-DE" sz="2800" b="1" kern="0" dirty="0"/>
              <a:t>27 </a:t>
            </a:r>
            <a:r>
              <a:rPr lang="de-DE" sz="2800" b="1" kern="0" dirty="0" err="1"/>
              <a:t>million</a:t>
            </a:r>
            <a:r>
              <a:rPr lang="de-DE" sz="2800" b="1" kern="0" dirty="0"/>
              <a:t> </a:t>
            </a:r>
            <a:r>
              <a:rPr lang="de-DE" sz="2000" kern="0" dirty="0" err="1"/>
              <a:t>customers</a:t>
            </a:r>
            <a:r>
              <a:rPr lang="de-DE" sz="2000" kern="0" dirty="0"/>
              <a:t> </a:t>
            </a:r>
            <a:r>
              <a:rPr lang="de-DE" sz="2000" kern="0" dirty="0" err="1">
                <a:solidFill>
                  <a:schemeClr val="bg1"/>
                </a:solidFill>
              </a:rPr>
              <a:t>travelling</a:t>
            </a:r>
            <a:r>
              <a:rPr lang="de-DE" sz="2000" kern="0" dirty="0">
                <a:solidFill>
                  <a:schemeClr val="bg1"/>
                </a:solidFill>
              </a:rPr>
              <a:t> </a:t>
            </a:r>
            <a:r>
              <a:rPr lang="de-DE" sz="2000" kern="0" dirty="0" err="1">
                <a:solidFill>
                  <a:schemeClr val="bg1"/>
                </a:solidFill>
              </a:rPr>
              <a:t>with</a:t>
            </a:r>
            <a:r>
              <a:rPr lang="de-DE" sz="2000" kern="0" dirty="0">
                <a:solidFill>
                  <a:schemeClr val="bg1"/>
                </a:solidFill>
              </a:rPr>
              <a:t> </a:t>
            </a:r>
            <a:r>
              <a:rPr lang="de-DE" sz="2000" kern="0" dirty="0" err="1">
                <a:solidFill>
                  <a:schemeClr val="bg1"/>
                </a:solidFill>
              </a:rPr>
              <a:t>us</a:t>
            </a:r>
            <a:r>
              <a:rPr lang="de-DE" sz="2000" kern="0" dirty="0">
                <a:solidFill>
                  <a:schemeClr val="bg1"/>
                </a:solidFill>
              </a:rPr>
              <a:t> per </a:t>
            </a:r>
            <a:r>
              <a:rPr lang="de-DE" sz="2000" kern="0" dirty="0" err="1">
                <a:solidFill>
                  <a:schemeClr val="bg1"/>
                </a:solidFill>
              </a:rPr>
              <a:t>year</a:t>
            </a:r>
            <a:r>
              <a:rPr lang="de-DE" sz="2000" kern="0" dirty="0">
                <a:solidFill>
                  <a:schemeClr val="bg1"/>
                </a:solidFill>
              </a:rPr>
              <a:t>. </a:t>
            </a:r>
          </a:p>
        </p:txBody>
      </p:sp>
      <p:sp>
        <p:nvSpPr>
          <p:cNvPr id="47" name="Rechteck 14">
            <a:extLst>
              <a:ext uri="{FF2B5EF4-FFF2-40B4-BE49-F238E27FC236}">
                <a16:creationId xmlns:a16="http://schemas.microsoft.com/office/drawing/2014/main" id="{2E2B832A-67CF-4EA0-8072-47FE10BADB16}"/>
              </a:ext>
            </a:extLst>
          </p:cNvPr>
          <p:cNvSpPr/>
          <p:nvPr/>
        </p:nvSpPr>
        <p:spPr bwMode="gray">
          <a:xfrm>
            <a:off x="934973" y="1655638"/>
            <a:ext cx="2153566" cy="76601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buClr>
                <a:srgbClr val="9B9B9B"/>
              </a:buClr>
            </a:pPr>
            <a:r>
              <a:rPr lang="en-US" sz="2000" b="1" dirty="0"/>
              <a:t>150+</a:t>
            </a:r>
            <a:r>
              <a:rPr lang="en-US" sz="1800" dirty="0"/>
              <a:t> </a:t>
            </a:r>
            <a:r>
              <a:rPr lang="en-US" sz="1800" dirty="0">
                <a:solidFill>
                  <a:schemeClr val="bg1"/>
                </a:solidFill>
              </a:rPr>
              <a:t>TUI Aircrafts</a:t>
            </a:r>
            <a:endParaRPr lang="de-DE" sz="1800" kern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8" name="Rechteck 14">
            <a:extLst>
              <a:ext uri="{FF2B5EF4-FFF2-40B4-BE49-F238E27FC236}">
                <a16:creationId xmlns:a16="http://schemas.microsoft.com/office/drawing/2014/main" id="{F7133834-7D17-49FD-82D5-D98DE32D54F3}"/>
              </a:ext>
            </a:extLst>
          </p:cNvPr>
          <p:cNvSpPr/>
          <p:nvPr/>
        </p:nvSpPr>
        <p:spPr bwMode="gray">
          <a:xfrm>
            <a:off x="934745" y="2514430"/>
            <a:ext cx="2153566" cy="76601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rgbClr val="9B9B9B"/>
              </a:buClr>
            </a:pPr>
            <a:endParaRPr lang="de-DE" sz="1599" b="1" kern="0" dirty="0">
              <a:solidFill>
                <a:schemeClr val="accent1"/>
              </a:solidFill>
              <a:latin typeface="+mn-lt"/>
            </a:endParaRPr>
          </a:p>
          <a:p>
            <a:pPr algn="l">
              <a:buClr>
                <a:srgbClr val="9B9B9B"/>
              </a:buClr>
            </a:pPr>
            <a:r>
              <a:rPr lang="de-DE" sz="2000" b="1" kern="0" dirty="0">
                <a:solidFill>
                  <a:schemeClr val="accent1"/>
                </a:solidFill>
                <a:latin typeface="+mn-lt"/>
              </a:rPr>
              <a:t>€19.5 </a:t>
            </a:r>
            <a:r>
              <a:rPr lang="de-DE" sz="2000" b="1" kern="0" dirty="0" err="1">
                <a:solidFill>
                  <a:schemeClr val="accent1"/>
                </a:solidFill>
                <a:latin typeface="+mn-lt"/>
              </a:rPr>
              <a:t>bn</a:t>
            </a:r>
            <a:endParaRPr lang="de-DE" sz="2000" kern="0" dirty="0">
              <a:solidFill>
                <a:schemeClr val="accent1"/>
              </a:solidFill>
              <a:latin typeface="+mn-lt"/>
            </a:endParaRPr>
          </a:p>
          <a:p>
            <a:pPr lvl="0" algn="l">
              <a:buClr>
                <a:srgbClr val="9B9B9B"/>
              </a:buClr>
            </a:pPr>
            <a:r>
              <a:rPr lang="de-DE" sz="1800" kern="0" dirty="0" err="1">
                <a:solidFill>
                  <a:schemeClr val="bg1"/>
                </a:solidFill>
                <a:latin typeface="+mn-lt"/>
              </a:rPr>
              <a:t>Turnover</a:t>
            </a:r>
            <a:br>
              <a:rPr lang="de-DE" sz="1800" kern="0" dirty="0">
                <a:solidFill>
                  <a:schemeClr val="bg1"/>
                </a:solidFill>
                <a:latin typeface="+mn-lt"/>
              </a:rPr>
            </a:br>
            <a:endParaRPr lang="de-DE" sz="1800" kern="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49" name="Rechteck 14">
            <a:extLst>
              <a:ext uri="{FF2B5EF4-FFF2-40B4-BE49-F238E27FC236}">
                <a16:creationId xmlns:a16="http://schemas.microsoft.com/office/drawing/2014/main" id="{AB783100-B77C-43B3-A6D2-FBC0A1343290}"/>
              </a:ext>
            </a:extLst>
          </p:cNvPr>
          <p:cNvSpPr/>
          <p:nvPr/>
        </p:nvSpPr>
        <p:spPr bwMode="gray">
          <a:xfrm>
            <a:off x="934745" y="3373219"/>
            <a:ext cx="2153566" cy="76601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buClr>
                <a:srgbClr val="9B9B9B"/>
              </a:buClr>
            </a:pPr>
            <a:r>
              <a:rPr lang="de-DE" sz="2000" b="1" kern="0" dirty="0">
                <a:solidFill>
                  <a:schemeClr val="accent1"/>
                </a:solidFill>
                <a:latin typeface="+mn-lt"/>
              </a:rPr>
              <a:t>115</a:t>
            </a:r>
            <a:r>
              <a:rPr lang="de-DE" sz="1800" kern="0" dirty="0">
                <a:solidFill>
                  <a:schemeClr val="accent1"/>
                </a:solidFill>
                <a:latin typeface="+mn-lt"/>
              </a:rPr>
              <a:t> </a:t>
            </a:r>
            <a:r>
              <a:rPr lang="de-DE" sz="1800" kern="0" dirty="0">
                <a:solidFill>
                  <a:schemeClr val="bg1"/>
                </a:solidFill>
                <a:latin typeface="+mn-lt"/>
              </a:rPr>
              <a:t>destinations</a:t>
            </a:r>
          </a:p>
        </p:txBody>
      </p:sp>
      <p:sp>
        <p:nvSpPr>
          <p:cNvPr id="50" name="Rechteck 14">
            <a:extLst>
              <a:ext uri="{FF2B5EF4-FFF2-40B4-BE49-F238E27FC236}">
                <a16:creationId xmlns:a16="http://schemas.microsoft.com/office/drawing/2014/main" id="{A3E51BC1-0D4C-48AE-9112-3150492E4E9A}"/>
              </a:ext>
            </a:extLst>
          </p:cNvPr>
          <p:cNvSpPr/>
          <p:nvPr/>
        </p:nvSpPr>
        <p:spPr bwMode="gray">
          <a:xfrm>
            <a:off x="3168749" y="1655638"/>
            <a:ext cx="2376264" cy="76601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buClr>
                <a:srgbClr val="9B9B9B"/>
              </a:buClr>
            </a:pPr>
            <a:r>
              <a:rPr lang="de-DE" sz="2000" b="1" kern="0" dirty="0">
                <a:solidFill>
                  <a:schemeClr val="accent1"/>
                </a:solidFill>
                <a:latin typeface="+mn-lt"/>
              </a:rPr>
              <a:t>380</a:t>
            </a:r>
            <a:r>
              <a:rPr lang="de-DE" sz="1800" kern="0" dirty="0">
                <a:solidFill>
                  <a:schemeClr val="bg1"/>
                </a:solidFill>
                <a:latin typeface="+mn-lt"/>
              </a:rPr>
              <a:t> Hotels</a:t>
            </a:r>
          </a:p>
        </p:txBody>
      </p:sp>
      <p:sp>
        <p:nvSpPr>
          <p:cNvPr id="51" name="Rechteck 14">
            <a:extLst>
              <a:ext uri="{FF2B5EF4-FFF2-40B4-BE49-F238E27FC236}">
                <a16:creationId xmlns:a16="http://schemas.microsoft.com/office/drawing/2014/main" id="{D84C0188-28FB-4509-A6CC-2584A2C9E9FF}"/>
              </a:ext>
            </a:extLst>
          </p:cNvPr>
          <p:cNvSpPr/>
          <p:nvPr/>
        </p:nvSpPr>
        <p:spPr bwMode="gray">
          <a:xfrm>
            <a:off x="3168749" y="2514430"/>
            <a:ext cx="2376264" cy="76601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buClr>
                <a:srgbClr val="9B9B9B"/>
              </a:buClr>
            </a:pPr>
            <a:r>
              <a:rPr lang="de-DE" sz="2000" b="1" kern="0" dirty="0">
                <a:solidFill>
                  <a:schemeClr val="accent1"/>
                </a:solidFill>
                <a:latin typeface="+mn-lt"/>
              </a:rPr>
              <a:t>16</a:t>
            </a:r>
            <a:r>
              <a:rPr lang="de-DE" sz="1800" kern="0" dirty="0">
                <a:solidFill>
                  <a:schemeClr val="bg1"/>
                </a:solidFill>
                <a:latin typeface="+mn-lt"/>
              </a:rPr>
              <a:t> Cruise </a:t>
            </a:r>
            <a:r>
              <a:rPr lang="de-DE" sz="1800" kern="0" dirty="0" err="1">
                <a:solidFill>
                  <a:schemeClr val="bg1"/>
                </a:solidFill>
                <a:latin typeface="+mn-lt"/>
              </a:rPr>
              <a:t>ships</a:t>
            </a:r>
            <a:endParaRPr lang="de-DE" sz="1800" kern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2" name="Rechteck 14">
            <a:extLst>
              <a:ext uri="{FF2B5EF4-FFF2-40B4-BE49-F238E27FC236}">
                <a16:creationId xmlns:a16="http://schemas.microsoft.com/office/drawing/2014/main" id="{DFADF9D7-9E35-43A3-9574-E42CE0C25600}"/>
              </a:ext>
            </a:extLst>
          </p:cNvPr>
          <p:cNvSpPr/>
          <p:nvPr/>
        </p:nvSpPr>
        <p:spPr bwMode="gray">
          <a:xfrm>
            <a:off x="3168749" y="3373219"/>
            <a:ext cx="2376264" cy="76601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buClr>
                <a:srgbClr val="9B9B9B"/>
              </a:buClr>
            </a:pPr>
            <a:r>
              <a:rPr lang="de-DE" sz="2000" b="1" kern="0" dirty="0">
                <a:solidFill>
                  <a:schemeClr val="accent1"/>
                </a:solidFill>
                <a:latin typeface="+mn-lt"/>
              </a:rPr>
              <a:t>1,600</a:t>
            </a:r>
            <a:r>
              <a:rPr lang="de-DE" sz="2000" kern="0" dirty="0">
                <a:solidFill>
                  <a:schemeClr val="accent1"/>
                </a:solidFill>
                <a:latin typeface="+mn-lt"/>
              </a:rPr>
              <a:t> </a:t>
            </a:r>
            <a:r>
              <a:rPr lang="de-DE" sz="1800" kern="0" dirty="0">
                <a:solidFill>
                  <a:schemeClr val="bg1"/>
                </a:solidFill>
                <a:latin typeface="+mn-lt"/>
              </a:rPr>
              <a:t>travel shops</a:t>
            </a:r>
            <a:br>
              <a:rPr lang="de-DE" sz="1800" kern="0" dirty="0">
                <a:solidFill>
                  <a:schemeClr val="bg1"/>
                </a:solidFill>
                <a:latin typeface="+mn-lt"/>
              </a:rPr>
            </a:br>
            <a:r>
              <a:rPr lang="de-DE" sz="1800" kern="0" dirty="0">
                <a:solidFill>
                  <a:schemeClr val="bg1"/>
                </a:solidFill>
                <a:latin typeface="+mn-lt"/>
              </a:rPr>
              <a:t>in Europe </a:t>
            </a:r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E998384F-7477-4A48-9006-0A9A5610C7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4828" y="3587693"/>
            <a:ext cx="334657" cy="334781"/>
          </a:xfrm>
          <a:custGeom>
            <a:avLst/>
            <a:gdLst>
              <a:gd name="connsiteX0" fmla="*/ 2140743 w 4281487"/>
              <a:gd name="connsiteY0" fmla="*/ 3211512 h 4283075"/>
              <a:gd name="connsiteX1" fmla="*/ 2408237 w 4281487"/>
              <a:gd name="connsiteY1" fmla="*/ 3478935 h 4283075"/>
              <a:gd name="connsiteX2" fmla="*/ 2408237 w 4281487"/>
              <a:gd name="connsiteY2" fmla="*/ 4015652 h 4283075"/>
              <a:gd name="connsiteX3" fmla="*/ 2140743 w 4281487"/>
              <a:gd name="connsiteY3" fmla="*/ 4283075 h 4283075"/>
              <a:gd name="connsiteX4" fmla="*/ 1873250 w 4281487"/>
              <a:gd name="connsiteY4" fmla="*/ 4015652 h 4283075"/>
              <a:gd name="connsiteX5" fmla="*/ 1873250 w 4281487"/>
              <a:gd name="connsiteY5" fmla="*/ 3478935 h 4283075"/>
              <a:gd name="connsiteX6" fmla="*/ 2140743 w 4281487"/>
              <a:gd name="connsiteY6" fmla="*/ 3211512 h 4283075"/>
              <a:gd name="connsiteX7" fmla="*/ 3156303 w 4281487"/>
              <a:gd name="connsiteY7" fmla="*/ 2894749 h 4283075"/>
              <a:gd name="connsiteX8" fmla="*/ 3345795 w 4281487"/>
              <a:gd name="connsiteY8" fmla="*/ 2973160 h 4283075"/>
              <a:gd name="connsiteX9" fmla="*/ 3351396 w 4281487"/>
              <a:gd name="connsiteY9" fmla="*/ 2980628 h 4283075"/>
              <a:gd name="connsiteX10" fmla="*/ 3713580 w 4281487"/>
              <a:gd name="connsiteY10" fmla="*/ 3342811 h 4283075"/>
              <a:gd name="connsiteX11" fmla="*/ 3722914 w 4281487"/>
              <a:gd name="connsiteY11" fmla="*/ 3352146 h 4283075"/>
              <a:gd name="connsiteX12" fmla="*/ 3722914 w 4281487"/>
              <a:gd name="connsiteY12" fmla="*/ 3729264 h 4283075"/>
              <a:gd name="connsiteX13" fmla="*/ 3345795 w 4281487"/>
              <a:gd name="connsiteY13" fmla="*/ 3729264 h 4283075"/>
              <a:gd name="connsiteX14" fmla="*/ 3336461 w 4281487"/>
              <a:gd name="connsiteY14" fmla="*/ 3719930 h 4283075"/>
              <a:gd name="connsiteX15" fmla="*/ 2974277 w 4281487"/>
              <a:gd name="connsiteY15" fmla="*/ 3357746 h 4283075"/>
              <a:gd name="connsiteX16" fmla="*/ 2966810 w 4281487"/>
              <a:gd name="connsiteY16" fmla="*/ 3352146 h 4283075"/>
              <a:gd name="connsiteX17" fmla="*/ 2966810 w 4281487"/>
              <a:gd name="connsiteY17" fmla="*/ 2973160 h 4283075"/>
              <a:gd name="connsiteX18" fmla="*/ 3156303 w 4281487"/>
              <a:gd name="connsiteY18" fmla="*/ 2894749 h 4283075"/>
              <a:gd name="connsiteX19" fmla="*/ 1123596 w 4281487"/>
              <a:gd name="connsiteY19" fmla="*/ 2890030 h 4283075"/>
              <a:gd name="connsiteX20" fmla="*/ 1313089 w 4281487"/>
              <a:gd name="connsiteY20" fmla="*/ 2968570 h 4283075"/>
              <a:gd name="connsiteX21" fmla="*/ 1313089 w 4281487"/>
              <a:gd name="connsiteY21" fmla="*/ 3348179 h 4283075"/>
              <a:gd name="connsiteX22" fmla="*/ 1305621 w 4281487"/>
              <a:gd name="connsiteY22" fmla="*/ 3353789 h 4283075"/>
              <a:gd name="connsiteX23" fmla="*/ 943438 w 4281487"/>
              <a:gd name="connsiteY23" fmla="*/ 3716568 h 4283075"/>
              <a:gd name="connsiteX24" fmla="*/ 934104 w 4281487"/>
              <a:gd name="connsiteY24" fmla="*/ 3725918 h 4283075"/>
              <a:gd name="connsiteX25" fmla="*/ 556985 w 4281487"/>
              <a:gd name="connsiteY25" fmla="*/ 3725918 h 4283075"/>
              <a:gd name="connsiteX26" fmla="*/ 556985 w 4281487"/>
              <a:gd name="connsiteY26" fmla="*/ 3348179 h 4283075"/>
              <a:gd name="connsiteX27" fmla="*/ 566319 w 4281487"/>
              <a:gd name="connsiteY27" fmla="*/ 3338829 h 4283075"/>
              <a:gd name="connsiteX28" fmla="*/ 928503 w 4281487"/>
              <a:gd name="connsiteY28" fmla="*/ 2976050 h 4283075"/>
              <a:gd name="connsiteX29" fmla="*/ 934104 w 4281487"/>
              <a:gd name="connsiteY29" fmla="*/ 2968570 h 4283075"/>
              <a:gd name="connsiteX30" fmla="*/ 1123596 w 4281487"/>
              <a:gd name="connsiteY30" fmla="*/ 2890030 h 4283075"/>
              <a:gd name="connsiteX31" fmla="*/ 3478539 w 4281487"/>
              <a:gd name="connsiteY31" fmla="*/ 1874837 h 4283075"/>
              <a:gd name="connsiteX32" fmla="*/ 4014460 w 4281487"/>
              <a:gd name="connsiteY32" fmla="*/ 1874837 h 4283075"/>
              <a:gd name="connsiteX33" fmla="*/ 4281487 w 4281487"/>
              <a:gd name="connsiteY33" fmla="*/ 2141537 h 4283075"/>
              <a:gd name="connsiteX34" fmla="*/ 4014460 w 4281487"/>
              <a:gd name="connsiteY34" fmla="*/ 2408237 h 4283075"/>
              <a:gd name="connsiteX35" fmla="*/ 3478539 w 4281487"/>
              <a:gd name="connsiteY35" fmla="*/ 2408237 h 4283075"/>
              <a:gd name="connsiteX36" fmla="*/ 3211512 w 4281487"/>
              <a:gd name="connsiteY36" fmla="*/ 2141537 h 4283075"/>
              <a:gd name="connsiteX37" fmla="*/ 3478539 w 4281487"/>
              <a:gd name="connsiteY37" fmla="*/ 1874837 h 4283075"/>
              <a:gd name="connsiteX38" fmla="*/ 267027 w 4281487"/>
              <a:gd name="connsiteY38" fmla="*/ 1874837 h 4283075"/>
              <a:gd name="connsiteX39" fmla="*/ 802948 w 4281487"/>
              <a:gd name="connsiteY39" fmla="*/ 1874837 h 4283075"/>
              <a:gd name="connsiteX40" fmla="*/ 1069975 w 4281487"/>
              <a:gd name="connsiteY40" fmla="*/ 2141537 h 4283075"/>
              <a:gd name="connsiteX41" fmla="*/ 802948 w 4281487"/>
              <a:gd name="connsiteY41" fmla="*/ 2408237 h 4283075"/>
              <a:gd name="connsiteX42" fmla="*/ 267027 w 4281487"/>
              <a:gd name="connsiteY42" fmla="*/ 2408237 h 4283075"/>
              <a:gd name="connsiteX43" fmla="*/ 0 w 4281487"/>
              <a:gd name="connsiteY43" fmla="*/ 2141537 h 4283075"/>
              <a:gd name="connsiteX44" fmla="*/ 267027 w 4281487"/>
              <a:gd name="connsiteY44" fmla="*/ 1874837 h 4283075"/>
              <a:gd name="connsiteX45" fmla="*/ 2140743 w 4281487"/>
              <a:gd name="connsiteY45" fmla="*/ 1338262 h 4283075"/>
              <a:gd name="connsiteX46" fmla="*/ 2943224 w 4281487"/>
              <a:gd name="connsiteY46" fmla="*/ 2141537 h 4283075"/>
              <a:gd name="connsiteX47" fmla="*/ 2140743 w 4281487"/>
              <a:gd name="connsiteY47" fmla="*/ 2944812 h 4283075"/>
              <a:gd name="connsiteX48" fmla="*/ 1338262 w 4281487"/>
              <a:gd name="connsiteY48" fmla="*/ 2141537 h 4283075"/>
              <a:gd name="connsiteX49" fmla="*/ 2140743 w 4281487"/>
              <a:gd name="connsiteY49" fmla="*/ 1338262 h 4283075"/>
              <a:gd name="connsiteX50" fmla="*/ 3534354 w 4281487"/>
              <a:gd name="connsiteY50" fmla="*/ 486513 h 4283075"/>
              <a:gd name="connsiteX51" fmla="*/ 3722914 w 4281487"/>
              <a:gd name="connsiteY51" fmla="*/ 564923 h 4283075"/>
              <a:gd name="connsiteX52" fmla="*/ 3722914 w 4281487"/>
              <a:gd name="connsiteY52" fmla="*/ 942041 h 4283075"/>
              <a:gd name="connsiteX53" fmla="*/ 3715447 w 4281487"/>
              <a:gd name="connsiteY53" fmla="*/ 949509 h 4283075"/>
              <a:gd name="connsiteX54" fmla="*/ 3717313 w 4281487"/>
              <a:gd name="connsiteY54" fmla="*/ 949509 h 4283075"/>
              <a:gd name="connsiteX55" fmla="*/ 3355130 w 4281487"/>
              <a:gd name="connsiteY55" fmla="*/ 1311692 h 4283075"/>
              <a:gd name="connsiteX56" fmla="*/ 3353263 w 4281487"/>
              <a:gd name="connsiteY56" fmla="*/ 1309826 h 4283075"/>
              <a:gd name="connsiteX57" fmla="*/ 3345795 w 4281487"/>
              <a:gd name="connsiteY57" fmla="*/ 1321027 h 4283075"/>
              <a:gd name="connsiteX58" fmla="*/ 2966810 w 4281487"/>
              <a:gd name="connsiteY58" fmla="*/ 1321027 h 4283075"/>
              <a:gd name="connsiteX59" fmla="*/ 2966810 w 4281487"/>
              <a:gd name="connsiteY59" fmla="*/ 942041 h 4283075"/>
              <a:gd name="connsiteX60" fmla="*/ 2978011 w 4281487"/>
              <a:gd name="connsiteY60" fmla="*/ 934574 h 4283075"/>
              <a:gd name="connsiteX61" fmla="*/ 2976144 w 4281487"/>
              <a:gd name="connsiteY61" fmla="*/ 932707 h 4283075"/>
              <a:gd name="connsiteX62" fmla="*/ 3338328 w 4281487"/>
              <a:gd name="connsiteY62" fmla="*/ 570523 h 4283075"/>
              <a:gd name="connsiteX63" fmla="*/ 3338328 w 4281487"/>
              <a:gd name="connsiteY63" fmla="*/ 572390 h 4283075"/>
              <a:gd name="connsiteX64" fmla="*/ 3345795 w 4281487"/>
              <a:gd name="connsiteY64" fmla="*/ 564923 h 4283075"/>
              <a:gd name="connsiteX65" fmla="*/ 3534354 w 4281487"/>
              <a:gd name="connsiteY65" fmla="*/ 486513 h 4283075"/>
              <a:gd name="connsiteX66" fmla="*/ 745545 w 4281487"/>
              <a:gd name="connsiteY66" fmla="*/ 481792 h 4283075"/>
              <a:gd name="connsiteX67" fmla="*/ 934104 w 4281487"/>
              <a:gd name="connsiteY67" fmla="*/ 560332 h 4283075"/>
              <a:gd name="connsiteX68" fmla="*/ 943438 w 4281487"/>
              <a:gd name="connsiteY68" fmla="*/ 569682 h 4283075"/>
              <a:gd name="connsiteX69" fmla="*/ 1305621 w 4281487"/>
              <a:gd name="connsiteY69" fmla="*/ 932461 h 4283075"/>
              <a:gd name="connsiteX70" fmla="*/ 1313089 w 4281487"/>
              <a:gd name="connsiteY70" fmla="*/ 938071 h 4283075"/>
              <a:gd name="connsiteX71" fmla="*/ 1313089 w 4281487"/>
              <a:gd name="connsiteY71" fmla="*/ 1317680 h 4283075"/>
              <a:gd name="connsiteX72" fmla="*/ 934104 w 4281487"/>
              <a:gd name="connsiteY72" fmla="*/ 1317680 h 4283075"/>
              <a:gd name="connsiteX73" fmla="*/ 928503 w 4281487"/>
              <a:gd name="connsiteY73" fmla="*/ 1310200 h 4283075"/>
              <a:gd name="connsiteX74" fmla="*/ 566319 w 4281487"/>
              <a:gd name="connsiteY74" fmla="*/ 947421 h 4283075"/>
              <a:gd name="connsiteX75" fmla="*/ 556985 w 4281487"/>
              <a:gd name="connsiteY75" fmla="*/ 938071 h 4283075"/>
              <a:gd name="connsiteX76" fmla="*/ 556985 w 4281487"/>
              <a:gd name="connsiteY76" fmla="*/ 560332 h 4283075"/>
              <a:gd name="connsiteX77" fmla="*/ 745545 w 4281487"/>
              <a:gd name="connsiteY77" fmla="*/ 481792 h 4283075"/>
              <a:gd name="connsiteX78" fmla="*/ 2140743 w 4281487"/>
              <a:gd name="connsiteY78" fmla="*/ 0 h 4283075"/>
              <a:gd name="connsiteX79" fmla="*/ 2408237 w 4281487"/>
              <a:gd name="connsiteY79" fmla="*/ 267028 h 4283075"/>
              <a:gd name="connsiteX80" fmla="*/ 2408237 w 4281487"/>
              <a:gd name="connsiteY80" fmla="*/ 802948 h 4283075"/>
              <a:gd name="connsiteX81" fmla="*/ 2140743 w 4281487"/>
              <a:gd name="connsiteY81" fmla="*/ 1069975 h 4283075"/>
              <a:gd name="connsiteX82" fmla="*/ 1873250 w 4281487"/>
              <a:gd name="connsiteY82" fmla="*/ 802948 h 4283075"/>
              <a:gd name="connsiteX83" fmla="*/ 1873250 w 4281487"/>
              <a:gd name="connsiteY83" fmla="*/ 267028 h 4283075"/>
              <a:gd name="connsiteX84" fmla="*/ 2140743 w 4281487"/>
              <a:gd name="connsiteY84" fmla="*/ 0 h 4283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4281487" h="4283075">
                <a:moveTo>
                  <a:pt x="2140743" y="3211512"/>
                </a:moveTo>
                <a:cubicBezTo>
                  <a:pt x="2288520" y="3211512"/>
                  <a:pt x="2408237" y="3331198"/>
                  <a:pt x="2408237" y="3478935"/>
                </a:cubicBezTo>
                <a:cubicBezTo>
                  <a:pt x="2408237" y="3478935"/>
                  <a:pt x="2408237" y="3478935"/>
                  <a:pt x="2408237" y="4015652"/>
                </a:cubicBezTo>
                <a:cubicBezTo>
                  <a:pt x="2408237" y="4163389"/>
                  <a:pt x="2288520" y="4283075"/>
                  <a:pt x="2140743" y="4283075"/>
                </a:cubicBezTo>
                <a:cubicBezTo>
                  <a:pt x="1992967" y="4283075"/>
                  <a:pt x="1873250" y="4163389"/>
                  <a:pt x="1873250" y="4015652"/>
                </a:cubicBezTo>
                <a:cubicBezTo>
                  <a:pt x="1873250" y="4015652"/>
                  <a:pt x="1873250" y="4015652"/>
                  <a:pt x="1873250" y="3478935"/>
                </a:cubicBezTo>
                <a:cubicBezTo>
                  <a:pt x="1873250" y="3331198"/>
                  <a:pt x="1992967" y="3211512"/>
                  <a:pt x="2140743" y="3211512"/>
                </a:cubicBezTo>
                <a:close/>
                <a:moveTo>
                  <a:pt x="3156303" y="2894749"/>
                </a:moveTo>
                <a:cubicBezTo>
                  <a:pt x="3224912" y="2894749"/>
                  <a:pt x="3293521" y="2920886"/>
                  <a:pt x="3345795" y="2973160"/>
                </a:cubicBezTo>
                <a:cubicBezTo>
                  <a:pt x="3347662" y="2975027"/>
                  <a:pt x="3349529" y="2978761"/>
                  <a:pt x="3351396" y="2980628"/>
                </a:cubicBezTo>
                <a:cubicBezTo>
                  <a:pt x="3351396" y="2980628"/>
                  <a:pt x="3351396" y="2980628"/>
                  <a:pt x="3713580" y="3342811"/>
                </a:cubicBezTo>
                <a:cubicBezTo>
                  <a:pt x="3715447" y="3346545"/>
                  <a:pt x="3719180" y="3348412"/>
                  <a:pt x="3722914" y="3352146"/>
                </a:cubicBezTo>
                <a:cubicBezTo>
                  <a:pt x="3827462" y="3456693"/>
                  <a:pt x="3827462" y="3624717"/>
                  <a:pt x="3722914" y="3729264"/>
                </a:cubicBezTo>
                <a:cubicBezTo>
                  <a:pt x="3618366" y="3833812"/>
                  <a:pt x="3450343" y="3833812"/>
                  <a:pt x="3345795" y="3729264"/>
                </a:cubicBezTo>
                <a:cubicBezTo>
                  <a:pt x="3342062" y="3727398"/>
                  <a:pt x="3340195" y="3721797"/>
                  <a:pt x="3336461" y="3719930"/>
                </a:cubicBezTo>
                <a:cubicBezTo>
                  <a:pt x="3336461" y="3719930"/>
                  <a:pt x="3336461" y="3719930"/>
                  <a:pt x="2974277" y="3357746"/>
                </a:cubicBezTo>
                <a:cubicBezTo>
                  <a:pt x="2972411" y="3355880"/>
                  <a:pt x="2968677" y="3354013"/>
                  <a:pt x="2966810" y="3352146"/>
                </a:cubicBezTo>
                <a:cubicBezTo>
                  <a:pt x="2862262" y="3247598"/>
                  <a:pt x="2862262" y="3077708"/>
                  <a:pt x="2966810" y="2973160"/>
                </a:cubicBezTo>
                <a:cubicBezTo>
                  <a:pt x="3019084" y="2920886"/>
                  <a:pt x="3087693" y="2894749"/>
                  <a:pt x="3156303" y="2894749"/>
                </a:cubicBezTo>
                <a:close/>
                <a:moveTo>
                  <a:pt x="1123596" y="2890030"/>
                </a:moveTo>
                <a:cubicBezTo>
                  <a:pt x="1192206" y="2890030"/>
                  <a:pt x="1260815" y="2916210"/>
                  <a:pt x="1313089" y="2968570"/>
                </a:cubicBezTo>
                <a:cubicBezTo>
                  <a:pt x="1417637" y="3073290"/>
                  <a:pt x="1417637" y="3243459"/>
                  <a:pt x="1313089" y="3348179"/>
                </a:cubicBezTo>
                <a:cubicBezTo>
                  <a:pt x="1311222" y="3350049"/>
                  <a:pt x="1307488" y="3351919"/>
                  <a:pt x="1305621" y="3353789"/>
                </a:cubicBezTo>
                <a:cubicBezTo>
                  <a:pt x="1305621" y="3353789"/>
                  <a:pt x="1305621" y="3353789"/>
                  <a:pt x="943438" y="3716568"/>
                </a:cubicBezTo>
                <a:cubicBezTo>
                  <a:pt x="939704" y="3718438"/>
                  <a:pt x="937837" y="3722178"/>
                  <a:pt x="934104" y="3725918"/>
                </a:cubicBezTo>
                <a:cubicBezTo>
                  <a:pt x="829556" y="3830638"/>
                  <a:pt x="661533" y="3830638"/>
                  <a:pt x="556985" y="3725918"/>
                </a:cubicBezTo>
                <a:cubicBezTo>
                  <a:pt x="452437" y="3621199"/>
                  <a:pt x="452437" y="3452899"/>
                  <a:pt x="556985" y="3348179"/>
                </a:cubicBezTo>
                <a:cubicBezTo>
                  <a:pt x="560719" y="3344439"/>
                  <a:pt x="564452" y="3342569"/>
                  <a:pt x="566319" y="3338829"/>
                </a:cubicBezTo>
                <a:cubicBezTo>
                  <a:pt x="566319" y="3338829"/>
                  <a:pt x="566319" y="3338829"/>
                  <a:pt x="928503" y="2976050"/>
                </a:cubicBezTo>
                <a:cubicBezTo>
                  <a:pt x="930370" y="2974180"/>
                  <a:pt x="932237" y="2970440"/>
                  <a:pt x="934104" y="2968570"/>
                </a:cubicBezTo>
                <a:cubicBezTo>
                  <a:pt x="986378" y="2916210"/>
                  <a:pt x="1054987" y="2890030"/>
                  <a:pt x="1123596" y="2890030"/>
                </a:cubicBezTo>
                <a:close/>
                <a:moveTo>
                  <a:pt x="3478539" y="1874837"/>
                </a:moveTo>
                <a:cubicBezTo>
                  <a:pt x="3478539" y="1874837"/>
                  <a:pt x="3478539" y="1874837"/>
                  <a:pt x="4014460" y="1874837"/>
                </a:cubicBezTo>
                <a:cubicBezTo>
                  <a:pt x="4161978" y="1874837"/>
                  <a:pt x="4281487" y="1994199"/>
                  <a:pt x="4281487" y="2141537"/>
                </a:cubicBezTo>
                <a:cubicBezTo>
                  <a:pt x="4281487" y="2288875"/>
                  <a:pt x="4161978" y="2408237"/>
                  <a:pt x="4014460" y="2408237"/>
                </a:cubicBezTo>
                <a:cubicBezTo>
                  <a:pt x="4014460" y="2408237"/>
                  <a:pt x="4014460" y="2408237"/>
                  <a:pt x="3478539" y="2408237"/>
                </a:cubicBezTo>
                <a:cubicBezTo>
                  <a:pt x="3331021" y="2408237"/>
                  <a:pt x="3211512" y="2288875"/>
                  <a:pt x="3211512" y="2141537"/>
                </a:cubicBezTo>
                <a:cubicBezTo>
                  <a:pt x="3211512" y="1994199"/>
                  <a:pt x="3331021" y="1874837"/>
                  <a:pt x="3478539" y="1874837"/>
                </a:cubicBezTo>
                <a:close/>
                <a:moveTo>
                  <a:pt x="267027" y="1874837"/>
                </a:moveTo>
                <a:cubicBezTo>
                  <a:pt x="267027" y="1874837"/>
                  <a:pt x="267027" y="1874837"/>
                  <a:pt x="802948" y="1874837"/>
                </a:cubicBezTo>
                <a:cubicBezTo>
                  <a:pt x="950466" y="1874837"/>
                  <a:pt x="1069975" y="1994199"/>
                  <a:pt x="1069975" y="2141537"/>
                </a:cubicBezTo>
                <a:cubicBezTo>
                  <a:pt x="1069975" y="2288875"/>
                  <a:pt x="950466" y="2408237"/>
                  <a:pt x="802948" y="2408237"/>
                </a:cubicBezTo>
                <a:cubicBezTo>
                  <a:pt x="802948" y="2408237"/>
                  <a:pt x="802948" y="2408237"/>
                  <a:pt x="267027" y="2408237"/>
                </a:cubicBezTo>
                <a:cubicBezTo>
                  <a:pt x="119509" y="2408237"/>
                  <a:pt x="0" y="2288875"/>
                  <a:pt x="0" y="2141537"/>
                </a:cubicBezTo>
                <a:cubicBezTo>
                  <a:pt x="0" y="1994199"/>
                  <a:pt x="119509" y="1874837"/>
                  <a:pt x="267027" y="1874837"/>
                </a:cubicBezTo>
                <a:close/>
                <a:moveTo>
                  <a:pt x="2140743" y="1338262"/>
                </a:moveTo>
                <a:cubicBezTo>
                  <a:pt x="2583941" y="1338262"/>
                  <a:pt x="2943224" y="1697900"/>
                  <a:pt x="2943224" y="2141537"/>
                </a:cubicBezTo>
                <a:cubicBezTo>
                  <a:pt x="2943224" y="2585174"/>
                  <a:pt x="2583941" y="2944812"/>
                  <a:pt x="2140743" y="2944812"/>
                </a:cubicBezTo>
                <a:cubicBezTo>
                  <a:pt x="1697545" y="2944812"/>
                  <a:pt x="1338262" y="2585174"/>
                  <a:pt x="1338262" y="2141537"/>
                </a:cubicBezTo>
                <a:cubicBezTo>
                  <a:pt x="1338262" y="1697900"/>
                  <a:pt x="1697545" y="1338262"/>
                  <a:pt x="2140743" y="1338262"/>
                </a:cubicBezTo>
                <a:close/>
                <a:moveTo>
                  <a:pt x="3534354" y="486513"/>
                </a:moveTo>
                <a:cubicBezTo>
                  <a:pt x="3602497" y="486513"/>
                  <a:pt x="3670640" y="512649"/>
                  <a:pt x="3722914" y="564923"/>
                </a:cubicBezTo>
                <a:cubicBezTo>
                  <a:pt x="3827462" y="669470"/>
                  <a:pt x="3827462" y="839361"/>
                  <a:pt x="3722914" y="942041"/>
                </a:cubicBezTo>
                <a:cubicBezTo>
                  <a:pt x="3721047" y="945775"/>
                  <a:pt x="3719180" y="945775"/>
                  <a:pt x="3715447" y="949509"/>
                </a:cubicBezTo>
                <a:cubicBezTo>
                  <a:pt x="3715447" y="949509"/>
                  <a:pt x="3715447" y="949509"/>
                  <a:pt x="3717313" y="949509"/>
                </a:cubicBezTo>
                <a:cubicBezTo>
                  <a:pt x="3717313" y="949509"/>
                  <a:pt x="3717313" y="949509"/>
                  <a:pt x="3355130" y="1311692"/>
                </a:cubicBezTo>
                <a:cubicBezTo>
                  <a:pt x="3355130" y="1311692"/>
                  <a:pt x="3355130" y="1311692"/>
                  <a:pt x="3353263" y="1309826"/>
                </a:cubicBezTo>
                <a:cubicBezTo>
                  <a:pt x="3351396" y="1313559"/>
                  <a:pt x="3347662" y="1317293"/>
                  <a:pt x="3345795" y="1321027"/>
                </a:cubicBezTo>
                <a:cubicBezTo>
                  <a:pt x="3241248" y="1425575"/>
                  <a:pt x="3071358" y="1425575"/>
                  <a:pt x="2966810" y="1321027"/>
                </a:cubicBezTo>
                <a:cubicBezTo>
                  <a:pt x="2862262" y="1216479"/>
                  <a:pt x="2862262" y="1046589"/>
                  <a:pt x="2966810" y="942041"/>
                </a:cubicBezTo>
                <a:cubicBezTo>
                  <a:pt x="2970544" y="940174"/>
                  <a:pt x="2974277" y="938308"/>
                  <a:pt x="2978011" y="934574"/>
                </a:cubicBezTo>
                <a:cubicBezTo>
                  <a:pt x="2978011" y="934574"/>
                  <a:pt x="2978011" y="934574"/>
                  <a:pt x="2976144" y="932707"/>
                </a:cubicBezTo>
                <a:cubicBezTo>
                  <a:pt x="2976144" y="932707"/>
                  <a:pt x="2976144" y="932707"/>
                  <a:pt x="3338328" y="570523"/>
                </a:cubicBezTo>
                <a:cubicBezTo>
                  <a:pt x="3338328" y="570523"/>
                  <a:pt x="3338328" y="570523"/>
                  <a:pt x="3338328" y="572390"/>
                </a:cubicBezTo>
                <a:cubicBezTo>
                  <a:pt x="3342062" y="570523"/>
                  <a:pt x="3342062" y="566790"/>
                  <a:pt x="3345795" y="564923"/>
                </a:cubicBezTo>
                <a:cubicBezTo>
                  <a:pt x="3398069" y="512649"/>
                  <a:pt x="3466212" y="486513"/>
                  <a:pt x="3534354" y="486513"/>
                </a:cubicBezTo>
                <a:close/>
                <a:moveTo>
                  <a:pt x="745545" y="481792"/>
                </a:moveTo>
                <a:cubicBezTo>
                  <a:pt x="813687" y="481792"/>
                  <a:pt x="881830" y="507972"/>
                  <a:pt x="934104" y="560332"/>
                </a:cubicBezTo>
                <a:cubicBezTo>
                  <a:pt x="937837" y="564072"/>
                  <a:pt x="939704" y="567812"/>
                  <a:pt x="943438" y="569682"/>
                </a:cubicBezTo>
                <a:cubicBezTo>
                  <a:pt x="943438" y="569682"/>
                  <a:pt x="943438" y="569682"/>
                  <a:pt x="1305621" y="932461"/>
                </a:cubicBezTo>
                <a:cubicBezTo>
                  <a:pt x="1307488" y="934331"/>
                  <a:pt x="1311222" y="936201"/>
                  <a:pt x="1313089" y="938071"/>
                </a:cubicBezTo>
                <a:cubicBezTo>
                  <a:pt x="1417637" y="1042791"/>
                  <a:pt x="1417637" y="1212960"/>
                  <a:pt x="1313089" y="1317680"/>
                </a:cubicBezTo>
                <a:cubicBezTo>
                  <a:pt x="1208541" y="1422400"/>
                  <a:pt x="1038651" y="1422400"/>
                  <a:pt x="934104" y="1317680"/>
                </a:cubicBezTo>
                <a:cubicBezTo>
                  <a:pt x="932237" y="1315810"/>
                  <a:pt x="930370" y="1312070"/>
                  <a:pt x="928503" y="1310200"/>
                </a:cubicBezTo>
                <a:cubicBezTo>
                  <a:pt x="928503" y="1310200"/>
                  <a:pt x="928503" y="1310200"/>
                  <a:pt x="566319" y="947421"/>
                </a:cubicBezTo>
                <a:cubicBezTo>
                  <a:pt x="564452" y="943681"/>
                  <a:pt x="560719" y="941811"/>
                  <a:pt x="556985" y="938071"/>
                </a:cubicBezTo>
                <a:cubicBezTo>
                  <a:pt x="452437" y="833351"/>
                  <a:pt x="452437" y="665051"/>
                  <a:pt x="556985" y="560332"/>
                </a:cubicBezTo>
                <a:cubicBezTo>
                  <a:pt x="609259" y="507972"/>
                  <a:pt x="677402" y="481792"/>
                  <a:pt x="745545" y="481792"/>
                </a:cubicBezTo>
                <a:close/>
                <a:moveTo>
                  <a:pt x="2140743" y="0"/>
                </a:moveTo>
                <a:cubicBezTo>
                  <a:pt x="2288520" y="0"/>
                  <a:pt x="2408237" y="119508"/>
                  <a:pt x="2408237" y="267028"/>
                </a:cubicBezTo>
                <a:cubicBezTo>
                  <a:pt x="2408237" y="267028"/>
                  <a:pt x="2408237" y="267028"/>
                  <a:pt x="2408237" y="802948"/>
                </a:cubicBezTo>
                <a:cubicBezTo>
                  <a:pt x="2408237" y="950466"/>
                  <a:pt x="2288520" y="1069975"/>
                  <a:pt x="2140743" y="1069975"/>
                </a:cubicBezTo>
                <a:cubicBezTo>
                  <a:pt x="1992967" y="1069975"/>
                  <a:pt x="1873250" y="950466"/>
                  <a:pt x="1873250" y="802948"/>
                </a:cubicBezTo>
                <a:cubicBezTo>
                  <a:pt x="1873250" y="802948"/>
                  <a:pt x="1873250" y="802948"/>
                  <a:pt x="1873250" y="267028"/>
                </a:cubicBezTo>
                <a:cubicBezTo>
                  <a:pt x="1873250" y="119508"/>
                  <a:pt x="1992967" y="0"/>
                  <a:pt x="2140743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395" tIns="45698" rIns="91395" bIns="45698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2399" dirty="0"/>
          </a:p>
        </p:txBody>
      </p:sp>
      <p:sp>
        <p:nvSpPr>
          <p:cNvPr id="32" name="Freihandform: Form 31">
            <a:extLst>
              <a:ext uri="{FF2B5EF4-FFF2-40B4-BE49-F238E27FC236}">
                <a16:creationId xmlns:a16="http://schemas.microsoft.com/office/drawing/2014/main" id="{07AD0DCE-4500-4BD0-933D-27B53694F911}"/>
              </a:ext>
            </a:extLst>
          </p:cNvPr>
          <p:cNvSpPr>
            <a:spLocks/>
          </p:cNvSpPr>
          <p:nvPr/>
        </p:nvSpPr>
        <p:spPr bwMode="auto">
          <a:xfrm>
            <a:off x="4907230" y="1877652"/>
            <a:ext cx="402187" cy="334782"/>
          </a:xfrm>
          <a:custGeom>
            <a:avLst/>
            <a:gdLst>
              <a:gd name="connsiteX0" fmla="*/ 3067928 w 8240712"/>
              <a:gd name="connsiteY0" fmla="*/ 3789363 h 6859588"/>
              <a:gd name="connsiteX1" fmla="*/ 3208523 w 8240712"/>
              <a:gd name="connsiteY1" fmla="*/ 3817549 h 6859588"/>
              <a:gd name="connsiteX2" fmla="*/ 3313969 w 8240712"/>
              <a:gd name="connsiteY2" fmla="*/ 3905631 h 6859588"/>
              <a:gd name="connsiteX3" fmla="*/ 3380752 w 8240712"/>
              <a:gd name="connsiteY3" fmla="*/ 4057131 h 6859588"/>
              <a:gd name="connsiteX4" fmla="*/ 3403599 w 8240712"/>
              <a:gd name="connsiteY4" fmla="*/ 4273812 h 6859588"/>
              <a:gd name="connsiteX5" fmla="*/ 3373723 w 8240712"/>
              <a:gd name="connsiteY5" fmla="*/ 4511632 h 6859588"/>
              <a:gd name="connsiteX6" fmla="*/ 3264761 w 8240712"/>
              <a:gd name="connsiteY6" fmla="*/ 4689557 h 6859588"/>
              <a:gd name="connsiteX7" fmla="*/ 3067928 w 8240712"/>
              <a:gd name="connsiteY7" fmla="*/ 4752976 h 6859588"/>
              <a:gd name="connsiteX8" fmla="*/ 2925575 w 8240712"/>
              <a:gd name="connsiteY8" fmla="*/ 4724790 h 6859588"/>
              <a:gd name="connsiteX9" fmla="*/ 2820129 w 8240712"/>
              <a:gd name="connsiteY9" fmla="*/ 4638470 h 6859588"/>
              <a:gd name="connsiteX10" fmla="*/ 2753346 w 8240712"/>
              <a:gd name="connsiteY10" fmla="*/ 4488731 h 6859588"/>
              <a:gd name="connsiteX11" fmla="*/ 2730499 w 8240712"/>
              <a:gd name="connsiteY11" fmla="*/ 4273812 h 6859588"/>
              <a:gd name="connsiteX12" fmla="*/ 2753346 w 8240712"/>
              <a:gd name="connsiteY12" fmla="*/ 4057131 h 6859588"/>
              <a:gd name="connsiteX13" fmla="*/ 2820129 w 8240712"/>
              <a:gd name="connsiteY13" fmla="*/ 3905631 h 6859588"/>
              <a:gd name="connsiteX14" fmla="*/ 2925575 w 8240712"/>
              <a:gd name="connsiteY14" fmla="*/ 3817549 h 6859588"/>
              <a:gd name="connsiteX15" fmla="*/ 3067928 w 8240712"/>
              <a:gd name="connsiteY15" fmla="*/ 3789363 h 6859588"/>
              <a:gd name="connsiteX16" fmla="*/ 5279008 w 8240712"/>
              <a:gd name="connsiteY16" fmla="*/ 3541713 h 6859588"/>
              <a:gd name="connsiteX17" fmla="*/ 5196369 w 8240712"/>
              <a:gd name="connsiteY17" fmla="*/ 3546999 h 6859588"/>
              <a:gd name="connsiteX18" fmla="*/ 5152412 w 8240712"/>
              <a:gd name="connsiteY18" fmla="*/ 3564616 h 6859588"/>
              <a:gd name="connsiteX19" fmla="*/ 5133070 w 8240712"/>
              <a:gd name="connsiteY19" fmla="*/ 3592804 h 6859588"/>
              <a:gd name="connsiteX20" fmla="*/ 5126037 w 8240712"/>
              <a:gd name="connsiteY20" fmla="*/ 3636848 h 6859588"/>
              <a:gd name="connsiteX21" fmla="*/ 5126037 w 8240712"/>
              <a:gd name="connsiteY21" fmla="*/ 4907078 h 6859588"/>
              <a:gd name="connsiteX22" fmla="*/ 5133070 w 8240712"/>
              <a:gd name="connsiteY22" fmla="*/ 4951122 h 6859588"/>
              <a:gd name="connsiteX23" fmla="*/ 5152412 w 8240712"/>
              <a:gd name="connsiteY23" fmla="*/ 4977549 h 6859588"/>
              <a:gd name="connsiteX24" fmla="*/ 5196369 w 8240712"/>
              <a:gd name="connsiteY24" fmla="*/ 4995166 h 6859588"/>
              <a:gd name="connsiteX25" fmla="*/ 5279008 w 8240712"/>
              <a:gd name="connsiteY25" fmla="*/ 5002213 h 6859588"/>
              <a:gd name="connsiteX26" fmla="*/ 5999907 w 8240712"/>
              <a:gd name="connsiteY26" fmla="*/ 5002213 h 6859588"/>
              <a:gd name="connsiteX27" fmla="*/ 6057931 w 8240712"/>
              <a:gd name="connsiteY27" fmla="*/ 4995166 h 6859588"/>
              <a:gd name="connsiteX28" fmla="*/ 6093096 w 8240712"/>
              <a:gd name="connsiteY28" fmla="*/ 4965216 h 6859588"/>
              <a:gd name="connsiteX29" fmla="*/ 6115954 w 8240712"/>
              <a:gd name="connsiteY29" fmla="*/ 4887699 h 6859588"/>
              <a:gd name="connsiteX30" fmla="*/ 6122987 w 8240712"/>
              <a:gd name="connsiteY30" fmla="*/ 4804896 h 6859588"/>
              <a:gd name="connsiteX31" fmla="*/ 6119471 w 8240712"/>
              <a:gd name="connsiteY31" fmla="*/ 4764375 h 6859588"/>
              <a:gd name="connsiteX32" fmla="*/ 6101888 w 8240712"/>
              <a:gd name="connsiteY32" fmla="*/ 4743234 h 6859588"/>
              <a:gd name="connsiteX33" fmla="*/ 6079030 w 8240712"/>
              <a:gd name="connsiteY33" fmla="*/ 4734425 h 6859588"/>
              <a:gd name="connsiteX34" fmla="*/ 6036831 w 8240712"/>
              <a:gd name="connsiteY34" fmla="*/ 4732664 h 6859588"/>
              <a:gd name="connsiteX35" fmla="*/ 5451321 w 8240712"/>
              <a:gd name="connsiteY35" fmla="*/ 4732664 h 6859588"/>
              <a:gd name="connsiteX36" fmla="*/ 5451321 w 8240712"/>
              <a:gd name="connsiteY36" fmla="*/ 4369741 h 6859588"/>
              <a:gd name="connsiteX37" fmla="*/ 5892651 w 8240712"/>
              <a:gd name="connsiteY37" fmla="*/ 4369741 h 6859588"/>
              <a:gd name="connsiteX38" fmla="*/ 5950675 w 8240712"/>
              <a:gd name="connsiteY38" fmla="*/ 4362694 h 6859588"/>
              <a:gd name="connsiteX39" fmla="*/ 5985841 w 8240712"/>
              <a:gd name="connsiteY39" fmla="*/ 4332744 h 6859588"/>
              <a:gd name="connsiteX40" fmla="*/ 6008698 w 8240712"/>
              <a:gd name="connsiteY40" fmla="*/ 4253465 h 6859588"/>
              <a:gd name="connsiteX41" fmla="*/ 6017490 w 8240712"/>
              <a:gd name="connsiteY41" fmla="*/ 4172424 h 6859588"/>
              <a:gd name="connsiteX42" fmla="*/ 6012215 w 8240712"/>
              <a:gd name="connsiteY42" fmla="*/ 4131903 h 6859588"/>
              <a:gd name="connsiteX43" fmla="*/ 5996390 w 8240712"/>
              <a:gd name="connsiteY43" fmla="*/ 4110762 h 6859588"/>
              <a:gd name="connsiteX44" fmla="*/ 5971774 w 8240712"/>
              <a:gd name="connsiteY44" fmla="*/ 4101953 h 6859588"/>
              <a:gd name="connsiteX45" fmla="*/ 5929575 w 8240712"/>
              <a:gd name="connsiteY45" fmla="*/ 4100192 h 6859588"/>
              <a:gd name="connsiteX46" fmla="*/ 5451321 w 8240712"/>
              <a:gd name="connsiteY46" fmla="*/ 4100192 h 6859588"/>
              <a:gd name="connsiteX47" fmla="*/ 5451321 w 8240712"/>
              <a:gd name="connsiteY47" fmla="*/ 3811263 h 6859588"/>
              <a:gd name="connsiteX48" fmla="*/ 5987599 w 8240712"/>
              <a:gd name="connsiteY48" fmla="*/ 3811263 h 6859588"/>
              <a:gd name="connsiteX49" fmla="*/ 6047381 w 8240712"/>
              <a:gd name="connsiteY49" fmla="*/ 3804216 h 6859588"/>
              <a:gd name="connsiteX50" fmla="*/ 6082547 w 8240712"/>
              <a:gd name="connsiteY50" fmla="*/ 3774266 h 6859588"/>
              <a:gd name="connsiteX51" fmla="*/ 6105404 w 8240712"/>
              <a:gd name="connsiteY51" fmla="*/ 3694986 h 6859588"/>
              <a:gd name="connsiteX52" fmla="*/ 6112437 w 8240712"/>
              <a:gd name="connsiteY52" fmla="*/ 3612184 h 6859588"/>
              <a:gd name="connsiteX53" fmla="*/ 6108921 w 8240712"/>
              <a:gd name="connsiteY53" fmla="*/ 3573425 h 6859588"/>
              <a:gd name="connsiteX54" fmla="*/ 6091338 w 8240712"/>
              <a:gd name="connsiteY54" fmla="*/ 3552284 h 6859588"/>
              <a:gd name="connsiteX55" fmla="*/ 6068480 w 8240712"/>
              <a:gd name="connsiteY55" fmla="*/ 3543475 h 6859588"/>
              <a:gd name="connsiteX56" fmla="*/ 6026281 w 8240712"/>
              <a:gd name="connsiteY56" fmla="*/ 3541713 h 6859588"/>
              <a:gd name="connsiteX57" fmla="*/ 5279008 w 8240712"/>
              <a:gd name="connsiteY57" fmla="*/ 3541713 h 6859588"/>
              <a:gd name="connsiteX58" fmla="*/ 3866775 w 8240712"/>
              <a:gd name="connsiteY58" fmla="*/ 3541713 h 6859588"/>
              <a:gd name="connsiteX59" fmla="*/ 3808659 w 8240712"/>
              <a:gd name="connsiteY59" fmla="*/ 3548756 h 6859588"/>
              <a:gd name="connsiteX60" fmla="*/ 3773437 w 8240712"/>
              <a:gd name="connsiteY60" fmla="*/ 3578688 h 6859588"/>
              <a:gd name="connsiteX61" fmla="*/ 3750542 w 8240712"/>
              <a:gd name="connsiteY61" fmla="*/ 3649117 h 6859588"/>
              <a:gd name="connsiteX62" fmla="*/ 3741737 w 8240712"/>
              <a:gd name="connsiteY62" fmla="*/ 3738914 h 6859588"/>
              <a:gd name="connsiteX63" fmla="*/ 3747020 w 8240712"/>
              <a:gd name="connsiteY63" fmla="*/ 3779410 h 6859588"/>
              <a:gd name="connsiteX64" fmla="*/ 3764631 w 8240712"/>
              <a:gd name="connsiteY64" fmla="*/ 3800539 h 6859588"/>
              <a:gd name="connsiteX65" fmla="*/ 3829792 w 8240712"/>
              <a:gd name="connsiteY65" fmla="*/ 3811103 h 6859588"/>
              <a:gd name="connsiteX66" fmla="*/ 4190817 w 8240712"/>
              <a:gd name="connsiteY66" fmla="*/ 3811103 h 6859588"/>
              <a:gd name="connsiteX67" fmla="*/ 4190817 w 8240712"/>
              <a:gd name="connsiteY67" fmla="*/ 4922115 h 6859588"/>
              <a:gd name="connsiteX68" fmla="*/ 4215472 w 8240712"/>
              <a:gd name="connsiteY68" fmla="*/ 4987262 h 6859588"/>
              <a:gd name="connsiteX69" fmla="*/ 4356360 w 8240712"/>
              <a:gd name="connsiteY69" fmla="*/ 5010151 h 6859588"/>
              <a:gd name="connsiteX70" fmla="*/ 4493725 w 8240712"/>
              <a:gd name="connsiteY70" fmla="*/ 4987262 h 6859588"/>
              <a:gd name="connsiteX71" fmla="*/ 4511336 w 8240712"/>
              <a:gd name="connsiteY71" fmla="*/ 4962612 h 6859588"/>
              <a:gd name="connsiteX72" fmla="*/ 4516620 w 8240712"/>
              <a:gd name="connsiteY72" fmla="*/ 4922115 h 6859588"/>
              <a:gd name="connsiteX73" fmla="*/ 4516620 w 8240712"/>
              <a:gd name="connsiteY73" fmla="*/ 3811103 h 6859588"/>
              <a:gd name="connsiteX74" fmla="*/ 4840661 w 8240712"/>
              <a:gd name="connsiteY74" fmla="*/ 3811103 h 6859588"/>
              <a:gd name="connsiteX75" fmla="*/ 4898778 w 8240712"/>
              <a:gd name="connsiteY75" fmla="*/ 3804060 h 6859588"/>
              <a:gd name="connsiteX76" fmla="*/ 4933999 w 8240712"/>
              <a:gd name="connsiteY76" fmla="*/ 3774128 h 6859588"/>
              <a:gd name="connsiteX77" fmla="*/ 4956894 w 8240712"/>
              <a:gd name="connsiteY77" fmla="*/ 3694896 h 6859588"/>
              <a:gd name="connsiteX78" fmla="*/ 4965699 w 8240712"/>
              <a:gd name="connsiteY78" fmla="*/ 3612142 h 6859588"/>
              <a:gd name="connsiteX79" fmla="*/ 4960416 w 8240712"/>
              <a:gd name="connsiteY79" fmla="*/ 3573406 h 6859588"/>
              <a:gd name="connsiteX80" fmla="*/ 4944566 w 8240712"/>
              <a:gd name="connsiteY80" fmla="*/ 3552278 h 6859588"/>
              <a:gd name="connsiteX81" fmla="*/ 4921672 w 8240712"/>
              <a:gd name="connsiteY81" fmla="*/ 3543474 h 6859588"/>
              <a:gd name="connsiteX82" fmla="*/ 4877644 w 8240712"/>
              <a:gd name="connsiteY82" fmla="*/ 3541713 h 6859588"/>
              <a:gd name="connsiteX83" fmla="*/ 3866775 w 8240712"/>
              <a:gd name="connsiteY83" fmla="*/ 3541713 h 6859588"/>
              <a:gd name="connsiteX84" fmla="*/ 6459680 w 8240712"/>
              <a:gd name="connsiteY84" fmla="*/ 3532188 h 6859588"/>
              <a:gd name="connsiteX85" fmla="*/ 6320661 w 8240712"/>
              <a:gd name="connsiteY85" fmla="*/ 3555102 h 6859588"/>
              <a:gd name="connsiteX86" fmla="*/ 6301303 w 8240712"/>
              <a:gd name="connsiteY86" fmla="*/ 3579779 h 6859588"/>
              <a:gd name="connsiteX87" fmla="*/ 6296024 w 8240712"/>
              <a:gd name="connsiteY87" fmla="*/ 3620319 h 6859588"/>
              <a:gd name="connsiteX88" fmla="*/ 6296024 w 8240712"/>
              <a:gd name="connsiteY88" fmla="*/ 4907032 h 6859588"/>
              <a:gd name="connsiteX89" fmla="*/ 6303063 w 8240712"/>
              <a:gd name="connsiteY89" fmla="*/ 4951097 h 6859588"/>
              <a:gd name="connsiteX90" fmla="*/ 6322420 w 8240712"/>
              <a:gd name="connsiteY90" fmla="*/ 4977537 h 6859588"/>
              <a:gd name="connsiteX91" fmla="*/ 6366414 w 8240712"/>
              <a:gd name="connsiteY91" fmla="*/ 4995163 h 6859588"/>
              <a:gd name="connsiteX92" fmla="*/ 6449122 w 8240712"/>
              <a:gd name="connsiteY92" fmla="*/ 5002213 h 6859588"/>
              <a:gd name="connsiteX93" fmla="*/ 7144220 w 8240712"/>
              <a:gd name="connsiteY93" fmla="*/ 5002213 h 6859588"/>
              <a:gd name="connsiteX94" fmla="*/ 7202291 w 8240712"/>
              <a:gd name="connsiteY94" fmla="*/ 4995163 h 6859588"/>
              <a:gd name="connsiteX95" fmla="*/ 7237486 w 8240712"/>
              <a:gd name="connsiteY95" fmla="*/ 4965198 h 6859588"/>
              <a:gd name="connsiteX96" fmla="*/ 7260363 w 8240712"/>
              <a:gd name="connsiteY96" fmla="*/ 4882355 h 6859588"/>
              <a:gd name="connsiteX97" fmla="*/ 7269161 w 8240712"/>
              <a:gd name="connsiteY97" fmla="*/ 4801275 h 6859588"/>
              <a:gd name="connsiteX98" fmla="*/ 7263882 w 8240712"/>
              <a:gd name="connsiteY98" fmla="*/ 4762497 h 6859588"/>
              <a:gd name="connsiteX99" fmla="*/ 7246285 w 8240712"/>
              <a:gd name="connsiteY99" fmla="*/ 4739583 h 6859588"/>
              <a:gd name="connsiteX100" fmla="*/ 7223408 w 8240712"/>
              <a:gd name="connsiteY100" fmla="*/ 4732532 h 6859588"/>
              <a:gd name="connsiteX101" fmla="*/ 7181174 w 8240712"/>
              <a:gd name="connsiteY101" fmla="*/ 4729007 h 6859588"/>
              <a:gd name="connsiteX102" fmla="*/ 6621576 w 8240712"/>
              <a:gd name="connsiteY102" fmla="*/ 4729007 h 6859588"/>
              <a:gd name="connsiteX103" fmla="*/ 6621576 w 8240712"/>
              <a:gd name="connsiteY103" fmla="*/ 3620319 h 6859588"/>
              <a:gd name="connsiteX104" fmla="*/ 6616297 w 8240712"/>
              <a:gd name="connsiteY104" fmla="*/ 3579779 h 6859588"/>
              <a:gd name="connsiteX105" fmla="*/ 6596940 w 8240712"/>
              <a:gd name="connsiteY105" fmla="*/ 3555102 h 6859588"/>
              <a:gd name="connsiteX106" fmla="*/ 6459680 w 8240712"/>
              <a:gd name="connsiteY106" fmla="*/ 3532188 h 6859588"/>
              <a:gd name="connsiteX107" fmla="*/ 1151119 w 8240712"/>
              <a:gd name="connsiteY107" fmla="*/ 3532188 h 6859588"/>
              <a:gd name="connsiteX108" fmla="*/ 1012066 w 8240712"/>
              <a:gd name="connsiteY108" fmla="*/ 3555089 h 6859588"/>
              <a:gd name="connsiteX109" fmla="*/ 992704 w 8240712"/>
              <a:gd name="connsiteY109" fmla="*/ 3579751 h 6859588"/>
              <a:gd name="connsiteX110" fmla="*/ 987424 w 8240712"/>
              <a:gd name="connsiteY110" fmla="*/ 3620267 h 6859588"/>
              <a:gd name="connsiteX111" fmla="*/ 987424 w 8240712"/>
              <a:gd name="connsiteY111" fmla="*/ 4922072 h 6859588"/>
              <a:gd name="connsiteX112" fmla="*/ 1012066 w 8240712"/>
              <a:gd name="connsiteY112" fmla="*/ 4987251 h 6859588"/>
              <a:gd name="connsiteX113" fmla="*/ 1151119 w 8240712"/>
              <a:gd name="connsiteY113" fmla="*/ 5010151 h 6859588"/>
              <a:gd name="connsiteX114" fmla="*/ 1288411 w 8240712"/>
              <a:gd name="connsiteY114" fmla="*/ 4987251 h 6859588"/>
              <a:gd name="connsiteX115" fmla="*/ 1306013 w 8240712"/>
              <a:gd name="connsiteY115" fmla="*/ 4962589 h 6859588"/>
              <a:gd name="connsiteX116" fmla="*/ 1313053 w 8240712"/>
              <a:gd name="connsiteY116" fmla="*/ 4922072 h 6859588"/>
              <a:gd name="connsiteX117" fmla="*/ 1313053 w 8240712"/>
              <a:gd name="connsiteY117" fmla="*/ 4356606 h 6859588"/>
              <a:gd name="connsiteX118" fmla="*/ 1828780 w 8240712"/>
              <a:gd name="connsiteY118" fmla="*/ 4356606 h 6859588"/>
              <a:gd name="connsiteX119" fmla="*/ 1828780 w 8240712"/>
              <a:gd name="connsiteY119" fmla="*/ 4922072 h 6859588"/>
              <a:gd name="connsiteX120" fmla="*/ 1851662 w 8240712"/>
              <a:gd name="connsiteY120" fmla="*/ 4987251 h 6859588"/>
              <a:gd name="connsiteX121" fmla="*/ 1900946 w 8240712"/>
              <a:gd name="connsiteY121" fmla="*/ 5004866 h 6859588"/>
              <a:gd name="connsiteX122" fmla="*/ 1992475 w 8240712"/>
              <a:gd name="connsiteY122" fmla="*/ 5010151 h 6859588"/>
              <a:gd name="connsiteX123" fmla="*/ 2129767 w 8240712"/>
              <a:gd name="connsiteY123" fmla="*/ 4987251 h 6859588"/>
              <a:gd name="connsiteX124" fmla="*/ 2147369 w 8240712"/>
              <a:gd name="connsiteY124" fmla="*/ 4962589 h 6859588"/>
              <a:gd name="connsiteX125" fmla="*/ 2152649 w 8240712"/>
              <a:gd name="connsiteY125" fmla="*/ 4922072 h 6859588"/>
              <a:gd name="connsiteX126" fmla="*/ 2152649 w 8240712"/>
              <a:gd name="connsiteY126" fmla="*/ 3620267 h 6859588"/>
              <a:gd name="connsiteX127" fmla="*/ 2129767 w 8240712"/>
              <a:gd name="connsiteY127" fmla="*/ 3555089 h 6859588"/>
              <a:gd name="connsiteX128" fmla="*/ 1992475 w 8240712"/>
              <a:gd name="connsiteY128" fmla="*/ 3532188 h 6859588"/>
              <a:gd name="connsiteX129" fmla="*/ 1900946 w 8240712"/>
              <a:gd name="connsiteY129" fmla="*/ 3537473 h 6859588"/>
              <a:gd name="connsiteX130" fmla="*/ 1851662 w 8240712"/>
              <a:gd name="connsiteY130" fmla="*/ 3555089 h 6859588"/>
              <a:gd name="connsiteX131" fmla="*/ 1834060 w 8240712"/>
              <a:gd name="connsiteY131" fmla="*/ 3579751 h 6859588"/>
              <a:gd name="connsiteX132" fmla="*/ 1828780 w 8240712"/>
              <a:gd name="connsiteY132" fmla="*/ 3620267 h 6859588"/>
              <a:gd name="connsiteX133" fmla="*/ 1828780 w 8240712"/>
              <a:gd name="connsiteY133" fmla="*/ 4085323 h 6859588"/>
              <a:gd name="connsiteX134" fmla="*/ 1313053 w 8240712"/>
              <a:gd name="connsiteY134" fmla="*/ 4085323 h 6859588"/>
              <a:gd name="connsiteX135" fmla="*/ 1313053 w 8240712"/>
              <a:gd name="connsiteY135" fmla="*/ 3620267 h 6859588"/>
              <a:gd name="connsiteX136" fmla="*/ 1306013 w 8240712"/>
              <a:gd name="connsiteY136" fmla="*/ 3579751 h 6859588"/>
              <a:gd name="connsiteX137" fmla="*/ 1288411 w 8240712"/>
              <a:gd name="connsiteY137" fmla="*/ 3555089 h 6859588"/>
              <a:gd name="connsiteX138" fmla="*/ 1151119 w 8240712"/>
              <a:gd name="connsiteY138" fmla="*/ 3532188 h 6859588"/>
              <a:gd name="connsiteX139" fmla="*/ 3067929 w 8240712"/>
              <a:gd name="connsiteY139" fmla="*/ 3509963 h 6859588"/>
              <a:gd name="connsiteX140" fmla="*/ 2786443 w 8240712"/>
              <a:gd name="connsiteY140" fmla="*/ 3562819 h 6859588"/>
              <a:gd name="connsiteX141" fmla="*/ 2573569 w 8240712"/>
              <a:gd name="connsiteY141" fmla="*/ 3716100 h 6859588"/>
              <a:gd name="connsiteX142" fmla="*/ 2439863 w 8240712"/>
              <a:gd name="connsiteY142" fmla="*/ 3957473 h 6859588"/>
              <a:gd name="connsiteX143" fmla="*/ 2392362 w 8240712"/>
              <a:gd name="connsiteY143" fmla="*/ 4274606 h 6859588"/>
              <a:gd name="connsiteX144" fmla="*/ 2439863 w 8240712"/>
              <a:gd name="connsiteY144" fmla="*/ 4589977 h 6859588"/>
              <a:gd name="connsiteX145" fmla="*/ 2573569 w 8240712"/>
              <a:gd name="connsiteY145" fmla="*/ 4829589 h 6859588"/>
              <a:gd name="connsiteX146" fmla="*/ 2786443 w 8240712"/>
              <a:gd name="connsiteY146" fmla="*/ 4981108 h 6859588"/>
              <a:gd name="connsiteX147" fmla="*/ 3067929 w 8240712"/>
              <a:gd name="connsiteY147" fmla="*/ 5033963 h 6859588"/>
              <a:gd name="connsiteX148" fmla="*/ 3347656 w 8240712"/>
              <a:gd name="connsiteY148" fmla="*/ 4981108 h 6859588"/>
              <a:gd name="connsiteX149" fmla="*/ 3560530 w 8240712"/>
              <a:gd name="connsiteY149" fmla="*/ 4829589 h 6859588"/>
              <a:gd name="connsiteX150" fmla="*/ 3694236 w 8240712"/>
              <a:gd name="connsiteY150" fmla="*/ 4589977 h 6859588"/>
              <a:gd name="connsiteX151" fmla="*/ 3741737 w 8240712"/>
              <a:gd name="connsiteY151" fmla="*/ 4274606 h 6859588"/>
              <a:gd name="connsiteX152" fmla="*/ 3694236 w 8240712"/>
              <a:gd name="connsiteY152" fmla="*/ 3957473 h 6859588"/>
              <a:gd name="connsiteX153" fmla="*/ 3560530 w 8240712"/>
              <a:gd name="connsiteY153" fmla="*/ 3716100 h 6859588"/>
              <a:gd name="connsiteX154" fmla="*/ 3349415 w 8240712"/>
              <a:gd name="connsiteY154" fmla="*/ 3562819 h 6859588"/>
              <a:gd name="connsiteX155" fmla="*/ 3067929 w 8240712"/>
              <a:gd name="connsiteY155" fmla="*/ 3509963 h 6859588"/>
              <a:gd name="connsiteX156" fmla="*/ 515705 w 8240712"/>
              <a:gd name="connsiteY156" fmla="*/ 1706563 h 6859588"/>
              <a:gd name="connsiteX157" fmla="*/ 7725008 w 8240712"/>
              <a:gd name="connsiteY157" fmla="*/ 1706563 h 6859588"/>
              <a:gd name="connsiteX158" fmla="*/ 8240712 w 8240712"/>
              <a:gd name="connsiteY158" fmla="*/ 2222570 h 6859588"/>
              <a:gd name="connsiteX159" fmla="*/ 8240712 w 8240712"/>
              <a:gd name="connsiteY159" fmla="*/ 6343581 h 6859588"/>
              <a:gd name="connsiteX160" fmla="*/ 7725008 w 8240712"/>
              <a:gd name="connsiteY160" fmla="*/ 6859588 h 6859588"/>
              <a:gd name="connsiteX161" fmla="*/ 515705 w 8240712"/>
              <a:gd name="connsiteY161" fmla="*/ 6859588 h 6859588"/>
              <a:gd name="connsiteX162" fmla="*/ 0 w 8240712"/>
              <a:gd name="connsiteY162" fmla="*/ 6343581 h 6859588"/>
              <a:gd name="connsiteX163" fmla="*/ 0 w 8240712"/>
              <a:gd name="connsiteY163" fmla="*/ 2222570 h 6859588"/>
              <a:gd name="connsiteX164" fmla="*/ 515705 w 8240712"/>
              <a:gd name="connsiteY164" fmla="*/ 1706563 h 6859588"/>
              <a:gd name="connsiteX165" fmla="*/ 1545353 w 8240712"/>
              <a:gd name="connsiteY165" fmla="*/ 0 h 6859588"/>
              <a:gd name="connsiteX166" fmla="*/ 2120901 w 8240712"/>
              <a:gd name="connsiteY166" fmla="*/ 257146 h 6859588"/>
              <a:gd name="connsiteX167" fmla="*/ 6119811 w 8240712"/>
              <a:gd name="connsiteY167" fmla="*/ 257146 h 6859588"/>
              <a:gd name="connsiteX168" fmla="*/ 6695359 w 8240712"/>
              <a:gd name="connsiteY168" fmla="*/ 0 h 6859588"/>
              <a:gd name="connsiteX169" fmla="*/ 7269146 w 8240712"/>
              <a:gd name="connsiteY169" fmla="*/ 257146 h 6859588"/>
              <a:gd name="connsiteX170" fmla="*/ 7725008 w 8240712"/>
              <a:gd name="connsiteY170" fmla="*/ 257146 h 6859588"/>
              <a:gd name="connsiteX171" fmla="*/ 8240712 w 8240712"/>
              <a:gd name="connsiteY171" fmla="*/ 771439 h 6859588"/>
              <a:gd name="connsiteX172" fmla="*/ 7725008 w 8240712"/>
              <a:gd name="connsiteY172" fmla="*/ 1287492 h 6859588"/>
              <a:gd name="connsiteX173" fmla="*/ 7269146 w 8240712"/>
              <a:gd name="connsiteY173" fmla="*/ 1287492 h 6859588"/>
              <a:gd name="connsiteX174" fmla="*/ 6695359 w 8240712"/>
              <a:gd name="connsiteY174" fmla="*/ 1544638 h 6859588"/>
              <a:gd name="connsiteX175" fmla="*/ 6119811 w 8240712"/>
              <a:gd name="connsiteY175" fmla="*/ 1287492 h 6859588"/>
              <a:gd name="connsiteX176" fmla="*/ 2120901 w 8240712"/>
              <a:gd name="connsiteY176" fmla="*/ 1287492 h 6859588"/>
              <a:gd name="connsiteX177" fmla="*/ 1545353 w 8240712"/>
              <a:gd name="connsiteY177" fmla="*/ 1544638 h 6859588"/>
              <a:gd name="connsiteX178" fmla="*/ 971566 w 8240712"/>
              <a:gd name="connsiteY178" fmla="*/ 1287492 h 6859588"/>
              <a:gd name="connsiteX179" fmla="*/ 515705 w 8240712"/>
              <a:gd name="connsiteY179" fmla="*/ 1287492 h 6859588"/>
              <a:gd name="connsiteX180" fmla="*/ 0 w 8240712"/>
              <a:gd name="connsiteY180" fmla="*/ 771439 h 6859588"/>
              <a:gd name="connsiteX181" fmla="*/ 515705 w 8240712"/>
              <a:gd name="connsiteY181" fmla="*/ 257146 h 6859588"/>
              <a:gd name="connsiteX182" fmla="*/ 971566 w 8240712"/>
              <a:gd name="connsiteY182" fmla="*/ 257146 h 6859588"/>
              <a:gd name="connsiteX183" fmla="*/ 1545353 w 8240712"/>
              <a:gd name="connsiteY183" fmla="*/ 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</a:cxnLst>
            <a:rect l="l" t="t" r="r" b="b"/>
            <a:pathLst>
              <a:path w="8240712" h="6859588">
                <a:moveTo>
                  <a:pt x="3067928" y="3789363"/>
                </a:moveTo>
                <a:cubicBezTo>
                  <a:pt x="3120651" y="3789363"/>
                  <a:pt x="3166344" y="3798171"/>
                  <a:pt x="3208523" y="3817549"/>
                </a:cubicBezTo>
                <a:cubicBezTo>
                  <a:pt x="3248944" y="3836927"/>
                  <a:pt x="3284093" y="3866875"/>
                  <a:pt x="3313969" y="3905631"/>
                </a:cubicBezTo>
                <a:cubicBezTo>
                  <a:pt x="3342089" y="3946149"/>
                  <a:pt x="3364935" y="3995474"/>
                  <a:pt x="3380752" y="4057131"/>
                </a:cubicBezTo>
                <a:cubicBezTo>
                  <a:pt x="3394812" y="4118789"/>
                  <a:pt x="3403599" y="4191015"/>
                  <a:pt x="3403599" y="4273812"/>
                </a:cubicBezTo>
                <a:cubicBezTo>
                  <a:pt x="3403599" y="4356609"/>
                  <a:pt x="3393054" y="4435882"/>
                  <a:pt x="3373723" y="4511632"/>
                </a:cubicBezTo>
                <a:cubicBezTo>
                  <a:pt x="3352633" y="4587383"/>
                  <a:pt x="3317484" y="4645517"/>
                  <a:pt x="3264761" y="4689557"/>
                </a:cubicBezTo>
                <a:cubicBezTo>
                  <a:pt x="3213795" y="4731837"/>
                  <a:pt x="3147013" y="4752976"/>
                  <a:pt x="3067928" y="4752976"/>
                </a:cubicBezTo>
                <a:cubicBezTo>
                  <a:pt x="3015204" y="4752976"/>
                  <a:pt x="2967754" y="4744168"/>
                  <a:pt x="2925575" y="4724790"/>
                </a:cubicBezTo>
                <a:cubicBezTo>
                  <a:pt x="2883396" y="4707174"/>
                  <a:pt x="2848248" y="4677226"/>
                  <a:pt x="2820129" y="4638470"/>
                </a:cubicBezTo>
                <a:cubicBezTo>
                  <a:pt x="2790252" y="4599714"/>
                  <a:pt x="2769163" y="4550388"/>
                  <a:pt x="2753346" y="4488731"/>
                </a:cubicBezTo>
                <a:cubicBezTo>
                  <a:pt x="2737529" y="4428836"/>
                  <a:pt x="2730499" y="4356609"/>
                  <a:pt x="2730499" y="4273812"/>
                </a:cubicBezTo>
                <a:cubicBezTo>
                  <a:pt x="2730499" y="4191015"/>
                  <a:pt x="2737529" y="4118789"/>
                  <a:pt x="2753346" y="4057131"/>
                </a:cubicBezTo>
                <a:cubicBezTo>
                  <a:pt x="2769163" y="3995474"/>
                  <a:pt x="2790252" y="3946149"/>
                  <a:pt x="2820129" y="3905631"/>
                </a:cubicBezTo>
                <a:cubicBezTo>
                  <a:pt x="2848248" y="3866875"/>
                  <a:pt x="2883396" y="3836927"/>
                  <a:pt x="2925575" y="3817549"/>
                </a:cubicBezTo>
                <a:cubicBezTo>
                  <a:pt x="2967754" y="3798171"/>
                  <a:pt x="3015204" y="3789363"/>
                  <a:pt x="3067928" y="3789363"/>
                </a:cubicBezTo>
                <a:close/>
                <a:moveTo>
                  <a:pt x="5279008" y="3541713"/>
                </a:moveTo>
                <a:cubicBezTo>
                  <a:pt x="5243843" y="3541713"/>
                  <a:pt x="5215710" y="3543475"/>
                  <a:pt x="5196369" y="3546999"/>
                </a:cubicBezTo>
                <a:cubicBezTo>
                  <a:pt x="5177028" y="3550522"/>
                  <a:pt x="5162961" y="3557569"/>
                  <a:pt x="5152412" y="3564616"/>
                </a:cubicBezTo>
                <a:cubicBezTo>
                  <a:pt x="5145378" y="3571663"/>
                  <a:pt x="5138345" y="3580472"/>
                  <a:pt x="5133070" y="3592804"/>
                </a:cubicBezTo>
                <a:cubicBezTo>
                  <a:pt x="5129554" y="3603375"/>
                  <a:pt x="5126037" y="3619231"/>
                  <a:pt x="5126037" y="3636848"/>
                </a:cubicBezTo>
                <a:cubicBezTo>
                  <a:pt x="5126037" y="3636848"/>
                  <a:pt x="5126037" y="3636848"/>
                  <a:pt x="5126037" y="4907078"/>
                </a:cubicBezTo>
                <a:cubicBezTo>
                  <a:pt x="5126037" y="4924696"/>
                  <a:pt x="5129554" y="4940552"/>
                  <a:pt x="5133070" y="4951122"/>
                </a:cubicBezTo>
                <a:cubicBezTo>
                  <a:pt x="5138345" y="4963454"/>
                  <a:pt x="5145378" y="4972263"/>
                  <a:pt x="5152412" y="4977549"/>
                </a:cubicBezTo>
                <a:cubicBezTo>
                  <a:pt x="5162961" y="4986357"/>
                  <a:pt x="5177028" y="4991643"/>
                  <a:pt x="5196369" y="4995166"/>
                </a:cubicBezTo>
                <a:cubicBezTo>
                  <a:pt x="5215710" y="5000451"/>
                  <a:pt x="5243843" y="5002213"/>
                  <a:pt x="5279008" y="5002213"/>
                </a:cubicBezTo>
                <a:cubicBezTo>
                  <a:pt x="5279008" y="5002213"/>
                  <a:pt x="5279008" y="5002213"/>
                  <a:pt x="5999907" y="5002213"/>
                </a:cubicBezTo>
                <a:cubicBezTo>
                  <a:pt x="6024523" y="5002213"/>
                  <a:pt x="6043864" y="5000451"/>
                  <a:pt x="6057931" y="4995166"/>
                </a:cubicBezTo>
                <a:cubicBezTo>
                  <a:pt x="6071997" y="4991643"/>
                  <a:pt x="6084305" y="4981072"/>
                  <a:pt x="6093096" y="4965216"/>
                </a:cubicBezTo>
                <a:cubicBezTo>
                  <a:pt x="6101888" y="4947599"/>
                  <a:pt x="6110679" y="4921172"/>
                  <a:pt x="6115954" y="4887699"/>
                </a:cubicBezTo>
                <a:cubicBezTo>
                  <a:pt x="6121229" y="4852463"/>
                  <a:pt x="6122987" y="4824275"/>
                  <a:pt x="6122987" y="4804896"/>
                </a:cubicBezTo>
                <a:cubicBezTo>
                  <a:pt x="6122987" y="4787278"/>
                  <a:pt x="6121229" y="4773184"/>
                  <a:pt x="6119471" y="4764375"/>
                </a:cubicBezTo>
                <a:cubicBezTo>
                  <a:pt x="6115954" y="4755567"/>
                  <a:pt x="6110679" y="4748520"/>
                  <a:pt x="6101888" y="4743234"/>
                </a:cubicBezTo>
                <a:cubicBezTo>
                  <a:pt x="6096613" y="4739711"/>
                  <a:pt x="6087821" y="4736187"/>
                  <a:pt x="6079030" y="4734425"/>
                </a:cubicBezTo>
                <a:cubicBezTo>
                  <a:pt x="6068480" y="4732664"/>
                  <a:pt x="6054414" y="4732664"/>
                  <a:pt x="6036831" y="4732664"/>
                </a:cubicBezTo>
                <a:cubicBezTo>
                  <a:pt x="6036831" y="4732664"/>
                  <a:pt x="6036831" y="4732664"/>
                  <a:pt x="5451321" y="4732664"/>
                </a:cubicBezTo>
                <a:cubicBezTo>
                  <a:pt x="5451321" y="4732664"/>
                  <a:pt x="5451321" y="4732664"/>
                  <a:pt x="5451321" y="4369741"/>
                </a:cubicBezTo>
                <a:cubicBezTo>
                  <a:pt x="5451321" y="4369741"/>
                  <a:pt x="5451321" y="4369741"/>
                  <a:pt x="5892651" y="4369741"/>
                </a:cubicBezTo>
                <a:cubicBezTo>
                  <a:pt x="5917267" y="4369741"/>
                  <a:pt x="5936609" y="4367979"/>
                  <a:pt x="5950675" y="4362694"/>
                </a:cubicBezTo>
                <a:cubicBezTo>
                  <a:pt x="5966499" y="4359170"/>
                  <a:pt x="5977049" y="4348600"/>
                  <a:pt x="5985841" y="4332744"/>
                </a:cubicBezTo>
                <a:cubicBezTo>
                  <a:pt x="5996390" y="4313365"/>
                  <a:pt x="6003424" y="4286938"/>
                  <a:pt x="6008698" y="4253465"/>
                </a:cubicBezTo>
                <a:cubicBezTo>
                  <a:pt x="6013973" y="4218230"/>
                  <a:pt x="6017490" y="4191803"/>
                  <a:pt x="6017490" y="4172424"/>
                </a:cubicBezTo>
                <a:cubicBezTo>
                  <a:pt x="6017490" y="4154806"/>
                  <a:pt x="6015732" y="4140712"/>
                  <a:pt x="6012215" y="4131903"/>
                </a:cubicBezTo>
                <a:cubicBezTo>
                  <a:pt x="6010457" y="4123094"/>
                  <a:pt x="6003424" y="4116047"/>
                  <a:pt x="5996390" y="4110762"/>
                </a:cubicBezTo>
                <a:cubicBezTo>
                  <a:pt x="5989357" y="4107239"/>
                  <a:pt x="5982324" y="4103715"/>
                  <a:pt x="5971774" y="4101953"/>
                </a:cubicBezTo>
                <a:cubicBezTo>
                  <a:pt x="5962983" y="4100192"/>
                  <a:pt x="5948917" y="4100192"/>
                  <a:pt x="5929575" y="4100192"/>
                </a:cubicBezTo>
                <a:cubicBezTo>
                  <a:pt x="5929575" y="4100192"/>
                  <a:pt x="5929575" y="4100192"/>
                  <a:pt x="5451321" y="4100192"/>
                </a:cubicBezTo>
                <a:cubicBezTo>
                  <a:pt x="5451321" y="4100192"/>
                  <a:pt x="5451321" y="4100192"/>
                  <a:pt x="5451321" y="3811263"/>
                </a:cubicBezTo>
                <a:cubicBezTo>
                  <a:pt x="5451321" y="3811263"/>
                  <a:pt x="5451321" y="3811263"/>
                  <a:pt x="5987599" y="3811263"/>
                </a:cubicBezTo>
                <a:cubicBezTo>
                  <a:pt x="6012215" y="3811263"/>
                  <a:pt x="6031556" y="3809501"/>
                  <a:pt x="6047381" y="3804216"/>
                </a:cubicBezTo>
                <a:cubicBezTo>
                  <a:pt x="6061447" y="3800692"/>
                  <a:pt x="6073755" y="3790122"/>
                  <a:pt x="6082547" y="3774266"/>
                </a:cubicBezTo>
                <a:cubicBezTo>
                  <a:pt x="6091338" y="3754886"/>
                  <a:pt x="6100129" y="3728460"/>
                  <a:pt x="6105404" y="3694986"/>
                </a:cubicBezTo>
                <a:cubicBezTo>
                  <a:pt x="6110679" y="3659751"/>
                  <a:pt x="6112437" y="3633325"/>
                  <a:pt x="6112437" y="3612184"/>
                </a:cubicBezTo>
                <a:cubicBezTo>
                  <a:pt x="6112437" y="3596328"/>
                  <a:pt x="6110679" y="3582234"/>
                  <a:pt x="6108921" y="3573425"/>
                </a:cubicBezTo>
                <a:cubicBezTo>
                  <a:pt x="6105404" y="3564616"/>
                  <a:pt x="6100129" y="3557569"/>
                  <a:pt x="6091338" y="3552284"/>
                </a:cubicBezTo>
                <a:cubicBezTo>
                  <a:pt x="6086063" y="3548760"/>
                  <a:pt x="6077272" y="3545237"/>
                  <a:pt x="6068480" y="3543475"/>
                </a:cubicBezTo>
                <a:cubicBezTo>
                  <a:pt x="6057931" y="3541713"/>
                  <a:pt x="6043864" y="3541713"/>
                  <a:pt x="6026281" y="3541713"/>
                </a:cubicBezTo>
                <a:cubicBezTo>
                  <a:pt x="6026281" y="3541713"/>
                  <a:pt x="6026281" y="3541713"/>
                  <a:pt x="5279008" y="3541713"/>
                </a:cubicBezTo>
                <a:close/>
                <a:moveTo>
                  <a:pt x="3866775" y="3541713"/>
                </a:moveTo>
                <a:cubicBezTo>
                  <a:pt x="3842119" y="3541713"/>
                  <a:pt x="3822747" y="3543474"/>
                  <a:pt x="3808659" y="3548756"/>
                </a:cubicBezTo>
                <a:cubicBezTo>
                  <a:pt x="3792809" y="3552278"/>
                  <a:pt x="3782242" y="3562842"/>
                  <a:pt x="3773437" y="3578688"/>
                </a:cubicBezTo>
                <a:cubicBezTo>
                  <a:pt x="3762870" y="3596295"/>
                  <a:pt x="3755826" y="3619185"/>
                  <a:pt x="3750542" y="3649117"/>
                </a:cubicBezTo>
                <a:cubicBezTo>
                  <a:pt x="3745259" y="3677288"/>
                  <a:pt x="3741737" y="3707221"/>
                  <a:pt x="3741737" y="3738914"/>
                </a:cubicBezTo>
                <a:cubicBezTo>
                  <a:pt x="3741737" y="3756521"/>
                  <a:pt x="3743498" y="3770606"/>
                  <a:pt x="3747020" y="3779410"/>
                </a:cubicBezTo>
                <a:cubicBezTo>
                  <a:pt x="3748781" y="3788214"/>
                  <a:pt x="3755826" y="3795256"/>
                  <a:pt x="3764631" y="3800539"/>
                </a:cubicBezTo>
                <a:cubicBezTo>
                  <a:pt x="3776959" y="3807582"/>
                  <a:pt x="3798092" y="3811103"/>
                  <a:pt x="3829792" y="3811103"/>
                </a:cubicBezTo>
                <a:cubicBezTo>
                  <a:pt x="3829792" y="3811103"/>
                  <a:pt x="3829792" y="3811103"/>
                  <a:pt x="4190817" y="3811103"/>
                </a:cubicBezTo>
                <a:cubicBezTo>
                  <a:pt x="4190817" y="3811103"/>
                  <a:pt x="4190817" y="3811103"/>
                  <a:pt x="4190817" y="4922115"/>
                </a:cubicBezTo>
                <a:cubicBezTo>
                  <a:pt x="4190817" y="4953808"/>
                  <a:pt x="4199622" y="4974937"/>
                  <a:pt x="4215472" y="4987262"/>
                </a:cubicBezTo>
                <a:cubicBezTo>
                  <a:pt x="4236605" y="5001348"/>
                  <a:pt x="4282394" y="5010151"/>
                  <a:pt x="4356360" y="5010151"/>
                </a:cubicBezTo>
                <a:cubicBezTo>
                  <a:pt x="4425043" y="5010151"/>
                  <a:pt x="4470831" y="5001348"/>
                  <a:pt x="4493725" y="4987262"/>
                </a:cubicBezTo>
                <a:cubicBezTo>
                  <a:pt x="4500770" y="4980219"/>
                  <a:pt x="4507814" y="4971415"/>
                  <a:pt x="4511336" y="4962612"/>
                </a:cubicBezTo>
                <a:cubicBezTo>
                  <a:pt x="4514859" y="4953808"/>
                  <a:pt x="4516620" y="4939723"/>
                  <a:pt x="4516620" y="4922115"/>
                </a:cubicBezTo>
                <a:cubicBezTo>
                  <a:pt x="4516620" y="4922115"/>
                  <a:pt x="4516620" y="4922115"/>
                  <a:pt x="4516620" y="3811103"/>
                </a:cubicBezTo>
                <a:cubicBezTo>
                  <a:pt x="4516620" y="3811103"/>
                  <a:pt x="4516620" y="3811103"/>
                  <a:pt x="4840661" y="3811103"/>
                </a:cubicBezTo>
                <a:cubicBezTo>
                  <a:pt x="4865317" y="3811103"/>
                  <a:pt x="4884689" y="3809342"/>
                  <a:pt x="4898778" y="3804060"/>
                </a:cubicBezTo>
                <a:cubicBezTo>
                  <a:pt x="4914627" y="3800539"/>
                  <a:pt x="4926955" y="3789974"/>
                  <a:pt x="4933999" y="3774128"/>
                </a:cubicBezTo>
                <a:cubicBezTo>
                  <a:pt x="4944566" y="3754760"/>
                  <a:pt x="4951610" y="3728349"/>
                  <a:pt x="4956894" y="3694896"/>
                </a:cubicBezTo>
                <a:cubicBezTo>
                  <a:pt x="4962177" y="3659681"/>
                  <a:pt x="4965699" y="3633271"/>
                  <a:pt x="4965699" y="3612142"/>
                </a:cubicBezTo>
                <a:cubicBezTo>
                  <a:pt x="4965699" y="3596295"/>
                  <a:pt x="4963938" y="3582210"/>
                  <a:pt x="4960416" y="3573406"/>
                </a:cubicBezTo>
                <a:cubicBezTo>
                  <a:pt x="4958655" y="3564603"/>
                  <a:pt x="4953372" y="3557560"/>
                  <a:pt x="4944566" y="3552278"/>
                </a:cubicBezTo>
                <a:cubicBezTo>
                  <a:pt x="4939283" y="3548756"/>
                  <a:pt x="4930477" y="3545235"/>
                  <a:pt x="4921672" y="3543474"/>
                </a:cubicBezTo>
                <a:cubicBezTo>
                  <a:pt x="4911105" y="3541713"/>
                  <a:pt x="4897016" y="3541713"/>
                  <a:pt x="4877644" y="3541713"/>
                </a:cubicBezTo>
                <a:cubicBezTo>
                  <a:pt x="4877644" y="3541713"/>
                  <a:pt x="4877644" y="3541713"/>
                  <a:pt x="3866775" y="3541713"/>
                </a:cubicBezTo>
                <a:close/>
                <a:moveTo>
                  <a:pt x="6459680" y="3532188"/>
                </a:moveTo>
                <a:cubicBezTo>
                  <a:pt x="6387531" y="3532188"/>
                  <a:pt x="6340018" y="3539239"/>
                  <a:pt x="6320661" y="3555102"/>
                </a:cubicBezTo>
                <a:cubicBezTo>
                  <a:pt x="6311862" y="3562153"/>
                  <a:pt x="6306583" y="3569203"/>
                  <a:pt x="6301303" y="3579779"/>
                </a:cubicBezTo>
                <a:cubicBezTo>
                  <a:pt x="6297784" y="3588592"/>
                  <a:pt x="6296024" y="3600930"/>
                  <a:pt x="6296024" y="3620319"/>
                </a:cubicBezTo>
                <a:cubicBezTo>
                  <a:pt x="6296024" y="3620319"/>
                  <a:pt x="6296024" y="3620319"/>
                  <a:pt x="6296024" y="4907032"/>
                </a:cubicBezTo>
                <a:cubicBezTo>
                  <a:pt x="6296024" y="4924658"/>
                  <a:pt x="6297784" y="4940521"/>
                  <a:pt x="6303063" y="4951097"/>
                </a:cubicBezTo>
                <a:cubicBezTo>
                  <a:pt x="6308342" y="4963436"/>
                  <a:pt x="6315381" y="4972249"/>
                  <a:pt x="6322420" y="4977537"/>
                </a:cubicBezTo>
                <a:cubicBezTo>
                  <a:pt x="6332979" y="4986350"/>
                  <a:pt x="6347057" y="4991637"/>
                  <a:pt x="6366414" y="4995163"/>
                </a:cubicBezTo>
                <a:cubicBezTo>
                  <a:pt x="6385771" y="5000451"/>
                  <a:pt x="6413927" y="5002213"/>
                  <a:pt x="6449122" y="5002213"/>
                </a:cubicBezTo>
                <a:cubicBezTo>
                  <a:pt x="6449122" y="5002213"/>
                  <a:pt x="6449122" y="5002213"/>
                  <a:pt x="7144220" y="5002213"/>
                </a:cubicBezTo>
                <a:cubicBezTo>
                  <a:pt x="7168856" y="5002213"/>
                  <a:pt x="7188213" y="5000451"/>
                  <a:pt x="7202291" y="4995163"/>
                </a:cubicBezTo>
                <a:cubicBezTo>
                  <a:pt x="7218129" y="4991637"/>
                  <a:pt x="7228687" y="4981062"/>
                  <a:pt x="7237486" y="4965198"/>
                </a:cubicBezTo>
                <a:cubicBezTo>
                  <a:pt x="7248044" y="4945809"/>
                  <a:pt x="7255083" y="4919370"/>
                  <a:pt x="7260363" y="4882355"/>
                </a:cubicBezTo>
                <a:cubicBezTo>
                  <a:pt x="7265642" y="4847103"/>
                  <a:pt x="7269161" y="4820663"/>
                  <a:pt x="7269161" y="4801275"/>
                </a:cubicBezTo>
                <a:cubicBezTo>
                  <a:pt x="7269161" y="4783648"/>
                  <a:pt x="7267401" y="4771310"/>
                  <a:pt x="7263882" y="4762497"/>
                </a:cubicBezTo>
                <a:cubicBezTo>
                  <a:pt x="7262122" y="4753684"/>
                  <a:pt x="7255083" y="4746633"/>
                  <a:pt x="7246285" y="4739583"/>
                </a:cubicBezTo>
                <a:cubicBezTo>
                  <a:pt x="7241005" y="4736058"/>
                  <a:pt x="7232207" y="4734295"/>
                  <a:pt x="7223408" y="4732532"/>
                </a:cubicBezTo>
                <a:cubicBezTo>
                  <a:pt x="7212849" y="4730770"/>
                  <a:pt x="7198772" y="4729007"/>
                  <a:pt x="7181174" y="4729007"/>
                </a:cubicBezTo>
                <a:cubicBezTo>
                  <a:pt x="7181174" y="4729007"/>
                  <a:pt x="7181174" y="4729007"/>
                  <a:pt x="6621576" y="4729007"/>
                </a:cubicBezTo>
                <a:cubicBezTo>
                  <a:pt x="6621576" y="4729007"/>
                  <a:pt x="6621576" y="4729007"/>
                  <a:pt x="6621576" y="3620319"/>
                </a:cubicBezTo>
                <a:cubicBezTo>
                  <a:pt x="6621576" y="3600930"/>
                  <a:pt x="6619817" y="3588592"/>
                  <a:pt x="6616297" y="3579779"/>
                </a:cubicBezTo>
                <a:cubicBezTo>
                  <a:pt x="6611018" y="3569203"/>
                  <a:pt x="6605739" y="3562153"/>
                  <a:pt x="6596940" y="3555102"/>
                </a:cubicBezTo>
                <a:cubicBezTo>
                  <a:pt x="6577583" y="3539239"/>
                  <a:pt x="6531830" y="3532188"/>
                  <a:pt x="6459680" y="3532188"/>
                </a:cubicBezTo>
                <a:close/>
                <a:moveTo>
                  <a:pt x="1151119" y="3532188"/>
                </a:moveTo>
                <a:cubicBezTo>
                  <a:pt x="1077192" y="3532188"/>
                  <a:pt x="1031428" y="3539235"/>
                  <a:pt x="1012066" y="3555089"/>
                </a:cubicBezTo>
                <a:cubicBezTo>
                  <a:pt x="1003265" y="3562135"/>
                  <a:pt x="996225" y="3569181"/>
                  <a:pt x="992704" y="3579751"/>
                </a:cubicBezTo>
                <a:cubicBezTo>
                  <a:pt x="989184" y="3588559"/>
                  <a:pt x="987424" y="3600890"/>
                  <a:pt x="987424" y="3620267"/>
                </a:cubicBezTo>
                <a:cubicBezTo>
                  <a:pt x="987424" y="3620267"/>
                  <a:pt x="987424" y="3620267"/>
                  <a:pt x="987424" y="4922072"/>
                </a:cubicBezTo>
                <a:cubicBezTo>
                  <a:pt x="987424" y="4952019"/>
                  <a:pt x="994465" y="4973158"/>
                  <a:pt x="1012066" y="4987251"/>
                </a:cubicBezTo>
                <a:cubicBezTo>
                  <a:pt x="1031428" y="5001343"/>
                  <a:pt x="1077192" y="5010151"/>
                  <a:pt x="1151119" y="5010151"/>
                </a:cubicBezTo>
                <a:cubicBezTo>
                  <a:pt x="1223285" y="5010151"/>
                  <a:pt x="1269049" y="5001343"/>
                  <a:pt x="1288411" y="4987251"/>
                </a:cubicBezTo>
                <a:cubicBezTo>
                  <a:pt x="1297212" y="4980204"/>
                  <a:pt x="1302492" y="4971396"/>
                  <a:pt x="1306013" y="4962589"/>
                </a:cubicBezTo>
                <a:cubicBezTo>
                  <a:pt x="1311293" y="4953781"/>
                  <a:pt x="1313053" y="4939688"/>
                  <a:pt x="1313053" y="4922072"/>
                </a:cubicBezTo>
                <a:cubicBezTo>
                  <a:pt x="1313053" y="4922072"/>
                  <a:pt x="1313053" y="4922072"/>
                  <a:pt x="1313053" y="4356606"/>
                </a:cubicBezTo>
                <a:cubicBezTo>
                  <a:pt x="1313053" y="4356606"/>
                  <a:pt x="1313053" y="4356606"/>
                  <a:pt x="1828780" y="4356606"/>
                </a:cubicBezTo>
                <a:cubicBezTo>
                  <a:pt x="1828780" y="4356606"/>
                  <a:pt x="1828780" y="4356606"/>
                  <a:pt x="1828780" y="4922072"/>
                </a:cubicBezTo>
                <a:cubicBezTo>
                  <a:pt x="1828780" y="4952019"/>
                  <a:pt x="1835820" y="4973158"/>
                  <a:pt x="1851662" y="4987251"/>
                </a:cubicBezTo>
                <a:cubicBezTo>
                  <a:pt x="1862223" y="4994297"/>
                  <a:pt x="1878064" y="4999582"/>
                  <a:pt x="1900946" y="5004866"/>
                </a:cubicBezTo>
                <a:cubicBezTo>
                  <a:pt x="1923828" y="5008390"/>
                  <a:pt x="1955511" y="5010151"/>
                  <a:pt x="1992475" y="5010151"/>
                </a:cubicBezTo>
                <a:cubicBezTo>
                  <a:pt x="2062881" y="5010151"/>
                  <a:pt x="2108645" y="5001343"/>
                  <a:pt x="2129767" y="4987251"/>
                </a:cubicBezTo>
                <a:cubicBezTo>
                  <a:pt x="2138568" y="4980204"/>
                  <a:pt x="2143848" y="4971396"/>
                  <a:pt x="2147369" y="4962589"/>
                </a:cubicBezTo>
                <a:cubicBezTo>
                  <a:pt x="2150889" y="4953781"/>
                  <a:pt x="2152649" y="4939688"/>
                  <a:pt x="2152649" y="4922072"/>
                </a:cubicBezTo>
                <a:lnTo>
                  <a:pt x="2152649" y="3620267"/>
                </a:lnTo>
                <a:cubicBezTo>
                  <a:pt x="2152649" y="3588559"/>
                  <a:pt x="2145608" y="3567420"/>
                  <a:pt x="2129767" y="3555089"/>
                </a:cubicBezTo>
                <a:cubicBezTo>
                  <a:pt x="2108645" y="3539235"/>
                  <a:pt x="2062881" y="3532188"/>
                  <a:pt x="1992475" y="3532188"/>
                </a:cubicBezTo>
                <a:cubicBezTo>
                  <a:pt x="1955511" y="3532188"/>
                  <a:pt x="1923828" y="3533950"/>
                  <a:pt x="1900946" y="3537473"/>
                </a:cubicBezTo>
                <a:cubicBezTo>
                  <a:pt x="1878064" y="3542758"/>
                  <a:pt x="1862223" y="3548042"/>
                  <a:pt x="1851662" y="3555089"/>
                </a:cubicBezTo>
                <a:cubicBezTo>
                  <a:pt x="1842861" y="3562135"/>
                  <a:pt x="1837581" y="3569181"/>
                  <a:pt x="1834060" y="3579751"/>
                </a:cubicBezTo>
                <a:cubicBezTo>
                  <a:pt x="1830540" y="3588559"/>
                  <a:pt x="1828780" y="3600890"/>
                  <a:pt x="1828780" y="3620267"/>
                </a:cubicBezTo>
                <a:cubicBezTo>
                  <a:pt x="1828780" y="3620267"/>
                  <a:pt x="1828780" y="3620267"/>
                  <a:pt x="1828780" y="4085323"/>
                </a:cubicBezTo>
                <a:cubicBezTo>
                  <a:pt x="1828780" y="4085323"/>
                  <a:pt x="1828780" y="4085323"/>
                  <a:pt x="1313053" y="4085323"/>
                </a:cubicBezTo>
                <a:cubicBezTo>
                  <a:pt x="1313053" y="4085323"/>
                  <a:pt x="1313053" y="4085323"/>
                  <a:pt x="1313053" y="3620267"/>
                </a:cubicBezTo>
                <a:cubicBezTo>
                  <a:pt x="1313053" y="3600890"/>
                  <a:pt x="1311293" y="3588559"/>
                  <a:pt x="1306013" y="3579751"/>
                </a:cubicBezTo>
                <a:cubicBezTo>
                  <a:pt x="1302492" y="3569181"/>
                  <a:pt x="1297212" y="3562135"/>
                  <a:pt x="1288411" y="3555089"/>
                </a:cubicBezTo>
                <a:cubicBezTo>
                  <a:pt x="1269049" y="3539235"/>
                  <a:pt x="1223285" y="3532188"/>
                  <a:pt x="1151119" y="3532188"/>
                </a:cubicBezTo>
                <a:close/>
                <a:moveTo>
                  <a:pt x="3067929" y="3509963"/>
                </a:moveTo>
                <a:cubicBezTo>
                  <a:pt x="2964131" y="3509963"/>
                  <a:pt x="2870889" y="3527582"/>
                  <a:pt x="2786443" y="3562819"/>
                </a:cubicBezTo>
                <a:cubicBezTo>
                  <a:pt x="2701997" y="3599818"/>
                  <a:pt x="2631625" y="3650911"/>
                  <a:pt x="2573569" y="3716100"/>
                </a:cubicBezTo>
                <a:cubicBezTo>
                  <a:pt x="2515512" y="3783050"/>
                  <a:pt x="2471530" y="3862333"/>
                  <a:pt x="2439863" y="3957473"/>
                </a:cubicBezTo>
                <a:cubicBezTo>
                  <a:pt x="2408196" y="4050851"/>
                  <a:pt x="2392362" y="4156562"/>
                  <a:pt x="2392362" y="4274606"/>
                </a:cubicBezTo>
                <a:cubicBezTo>
                  <a:pt x="2392362" y="4390888"/>
                  <a:pt x="2408196" y="4496599"/>
                  <a:pt x="2439863" y="4589977"/>
                </a:cubicBezTo>
                <a:cubicBezTo>
                  <a:pt x="2471530" y="4683355"/>
                  <a:pt x="2515512" y="4764400"/>
                  <a:pt x="2573569" y="4829589"/>
                </a:cubicBezTo>
                <a:cubicBezTo>
                  <a:pt x="2633385" y="4894777"/>
                  <a:pt x="2703756" y="4945871"/>
                  <a:pt x="2786443" y="4981108"/>
                </a:cubicBezTo>
                <a:cubicBezTo>
                  <a:pt x="2870889" y="5016345"/>
                  <a:pt x="2964131" y="5033963"/>
                  <a:pt x="3067929" y="5033963"/>
                </a:cubicBezTo>
                <a:cubicBezTo>
                  <a:pt x="3171727" y="5033963"/>
                  <a:pt x="3264970" y="5016345"/>
                  <a:pt x="3347656" y="4981108"/>
                </a:cubicBezTo>
                <a:cubicBezTo>
                  <a:pt x="3430343" y="4945871"/>
                  <a:pt x="3500714" y="4894777"/>
                  <a:pt x="3560530" y="4829589"/>
                </a:cubicBezTo>
                <a:cubicBezTo>
                  <a:pt x="3618587" y="4764400"/>
                  <a:pt x="3662569" y="4683355"/>
                  <a:pt x="3694236" y="4589977"/>
                </a:cubicBezTo>
                <a:cubicBezTo>
                  <a:pt x="3725903" y="4496599"/>
                  <a:pt x="3741737" y="4390888"/>
                  <a:pt x="3741737" y="4274606"/>
                </a:cubicBezTo>
                <a:cubicBezTo>
                  <a:pt x="3741737" y="4156562"/>
                  <a:pt x="3725903" y="4050851"/>
                  <a:pt x="3694236" y="3957473"/>
                </a:cubicBezTo>
                <a:cubicBezTo>
                  <a:pt x="3662569" y="3862333"/>
                  <a:pt x="3618587" y="3783050"/>
                  <a:pt x="3560530" y="3716100"/>
                </a:cubicBezTo>
                <a:cubicBezTo>
                  <a:pt x="3502474" y="3650911"/>
                  <a:pt x="3432102" y="3599818"/>
                  <a:pt x="3349415" y="3562819"/>
                </a:cubicBezTo>
                <a:cubicBezTo>
                  <a:pt x="3266729" y="3527582"/>
                  <a:pt x="3171727" y="3509963"/>
                  <a:pt x="3067929" y="3509963"/>
                </a:cubicBezTo>
                <a:close/>
                <a:moveTo>
                  <a:pt x="515705" y="1706563"/>
                </a:moveTo>
                <a:cubicBezTo>
                  <a:pt x="515705" y="1706563"/>
                  <a:pt x="515705" y="1706563"/>
                  <a:pt x="7725008" y="1706563"/>
                </a:cubicBezTo>
                <a:cubicBezTo>
                  <a:pt x="8010141" y="1706563"/>
                  <a:pt x="8240712" y="1937269"/>
                  <a:pt x="8240712" y="2222570"/>
                </a:cubicBezTo>
                <a:cubicBezTo>
                  <a:pt x="8240712" y="2222570"/>
                  <a:pt x="8240712" y="2222570"/>
                  <a:pt x="8240712" y="6343581"/>
                </a:cubicBezTo>
                <a:cubicBezTo>
                  <a:pt x="8240712" y="6628882"/>
                  <a:pt x="8010141" y="6859588"/>
                  <a:pt x="7725008" y="6859588"/>
                </a:cubicBezTo>
                <a:cubicBezTo>
                  <a:pt x="7725008" y="6859588"/>
                  <a:pt x="7725008" y="6859588"/>
                  <a:pt x="515705" y="6859588"/>
                </a:cubicBezTo>
                <a:cubicBezTo>
                  <a:pt x="230571" y="6859588"/>
                  <a:pt x="0" y="6628882"/>
                  <a:pt x="0" y="6343581"/>
                </a:cubicBezTo>
                <a:cubicBezTo>
                  <a:pt x="0" y="6343581"/>
                  <a:pt x="0" y="6343581"/>
                  <a:pt x="0" y="2222570"/>
                </a:cubicBezTo>
                <a:cubicBezTo>
                  <a:pt x="0" y="1937269"/>
                  <a:pt x="230571" y="1706563"/>
                  <a:pt x="515705" y="1706563"/>
                </a:cubicBezTo>
                <a:close/>
                <a:moveTo>
                  <a:pt x="1545353" y="0"/>
                </a:moveTo>
                <a:cubicBezTo>
                  <a:pt x="1774164" y="0"/>
                  <a:pt x="1978334" y="98632"/>
                  <a:pt x="2120901" y="257146"/>
                </a:cubicBezTo>
                <a:cubicBezTo>
                  <a:pt x="2120901" y="257146"/>
                  <a:pt x="2120901" y="257146"/>
                  <a:pt x="6119811" y="257146"/>
                </a:cubicBezTo>
                <a:cubicBezTo>
                  <a:pt x="6262378" y="98632"/>
                  <a:pt x="6466548" y="0"/>
                  <a:pt x="6695359" y="0"/>
                </a:cubicBezTo>
                <a:cubicBezTo>
                  <a:pt x="6924170" y="0"/>
                  <a:pt x="7128339" y="98632"/>
                  <a:pt x="7269146" y="257146"/>
                </a:cubicBezTo>
                <a:cubicBezTo>
                  <a:pt x="7269146" y="257146"/>
                  <a:pt x="7269146" y="257146"/>
                  <a:pt x="7725008" y="257146"/>
                </a:cubicBezTo>
                <a:cubicBezTo>
                  <a:pt x="8010141" y="257146"/>
                  <a:pt x="8240712" y="487873"/>
                  <a:pt x="8240712" y="771439"/>
                </a:cubicBezTo>
                <a:cubicBezTo>
                  <a:pt x="8240712" y="1056765"/>
                  <a:pt x="8010141" y="1287492"/>
                  <a:pt x="7725008" y="1287492"/>
                </a:cubicBezTo>
                <a:cubicBezTo>
                  <a:pt x="7725008" y="1287492"/>
                  <a:pt x="7725008" y="1287492"/>
                  <a:pt x="7269146" y="1287492"/>
                </a:cubicBezTo>
                <a:cubicBezTo>
                  <a:pt x="7128339" y="1446007"/>
                  <a:pt x="6924170" y="1544638"/>
                  <a:pt x="6695359" y="1544638"/>
                </a:cubicBezTo>
                <a:cubicBezTo>
                  <a:pt x="6466548" y="1544638"/>
                  <a:pt x="6262378" y="1446007"/>
                  <a:pt x="6119811" y="1287492"/>
                </a:cubicBezTo>
                <a:cubicBezTo>
                  <a:pt x="6119811" y="1287492"/>
                  <a:pt x="6119811" y="1287492"/>
                  <a:pt x="2120901" y="1287492"/>
                </a:cubicBezTo>
                <a:cubicBezTo>
                  <a:pt x="1978334" y="1446007"/>
                  <a:pt x="1774164" y="1544638"/>
                  <a:pt x="1545353" y="1544638"/>
                </a:cubicBezTo>
                <a:cubicBezTo>
                  <a:pt x="1316543" y="1544638"/>
                  <a:pt x="1112373" y="1446007"/>
                  <a:pt x="971566" y="1287492"/>
                </a:cubicBezTo>
                <a:cubicBezTo>
                  <a:pt x="971566" y="1287492"/>
                  <a:pt x="971566" y="1287492"/>
                  <a:pt x="515705" y="1287492"/>
                </a:cubicBezTo>
                <a:cubicBezTo>
                  <a:pt x="230571" y="1287492"/>
                  <a:pt x="0" y="1056765"/>
                  <a:pt x="0" y="771439"/>
                </a:cubicBezTo>
                <a:cubicBezTo>
                  <a:pt x="0" y="487873"/>
                  <a:pt x="230571" y="257146"/>
                  <a:pt x="515705" y="257146"/>
                </a:cubicBezTo>
                <a:cubicBezTo>
                  <a:pt x="515705" y="257146"/>
                  <a:pt x="515705" y="257146"/>
                  <a:pt x="971566" y="257146"/>
                </a:cubicBezTo>
                <a:cubicBezTo>
                  <a:pt x="1112373" y="98632"/>
                  <a:pt x="1316543" y="0"/>
                  <a:pt x="1545353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395" tIns="45698" rIns="91395" bIns="45698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2399" dirty="0"/>
          </a:p>
        </p:txBody>
      </p:sp>
      <p:sp>
        <p:nvSpPr>
          <p:cNvPr id="38" name="Freihandform: Form 37">
            <a:extLst>
              <a:ext uri="{FF2B5EF4-FFF2-40B4-BE49-F238E27FC236}">
                <a16:creationId xmlns:a16="http://schemas.microsoft.com/office/drawing/2014/main" id="{2589C0AD-542F-4B48-92B5-FD6DD788D3CE}"/>
              </a:ext>
            </a:extLst>
          </p:cNvPr>
          <p:cNvSpPr>
            <a:spLocks/>
          </p:cNvSpPr>
          <p:nvPr/>
        </p:nvSpPr>
        <p:spPr bwMode="auto">
          <a:xfrm>
            <a:off x="5037325" y="2714937"/>
            <a:ext cx="382160" cy="382514"/>
          </a:xfrm>
          <a:custGeom>
            <a:avLst/>
            <a:gdLst>
              <a:gd name="connsiteX0" fmla="*/ 2140970 w 6851649"/>
              <a:gd name="connsiteY0" fmla="*/ 5400675 h 6858000"/>
              <a:gd name="connsiteX1" fmla="*/ 3425824 w 6851649"/>
              <a:gd name="connsiteY1" fmla="*/ 6004035 h 6858000"/>
              <a:gd name="connsiteX2" fmla="*/ 4710679 w 6851649"/>
              <a:gd name="connsiteY2" fmla="*/ 5400675 h 6858000"/>
              <a:gd name="connsiteX3" fmla="*/ 5994172 w 6851649"/>
              <a:gd name="connsiteY3" fmla="*/ 6004035 h 6858000"/>
              <a:gd name="connsiteX4" fmla="*/ 6851649 w 6851649"/>
              <a:gd name="connsiteY4" fmla="*/ 5584543 h 6858000"/>
              <a:gd name="connsiteX5" fmla="*/ 6851649 w 6851649"/>
              <a:gd name="connsiteY5" fmla="*/ 6438509 h 6858000"/>
              <a:gd name="connsiteX6" fmla="*/ 5994172 w 6851649"/>
              <a:gd name="connsiteY6" fmla="*/ 6858000 h 6858000"/>
              <a:gd name="connsiteX7" fmla="*/ 4710679 w 6851649"/>
              <a:gd name="connsiteY7" fmla="*/ 6254640 h 6858000"/>
              <a:gd name="connsiteX8" fmla="*/ 3425824 w 6851649"/>
              <a:gd name="connsiteY8" fmla="*/ 6858000 h 6858000"/>
              <a:gd name="connsiteX9" fmla="*/ 2140970 w 6851649"/>
              <a:gd name="connsiteY9" fmla="*/ 6254640 h 6858000"/>
              <a:gd name="connsiteX10" fmla="*/ 857477 w 6851649"/>
              <a:gd name="connsiteY10" fmla="*/ 6858000 h 6858000"/>
              <a:gd name="connsiteX11" fmla="*/ 0 w 6851649"/>
              <a:gd name="connsiteY11" fmla="*/ 6424889 h 6858000"/>
              <a:gd name="connsiteX12" fmla="*/ 0 w 6851649"/>
              <a:gd name="connsiteY12" fmla="*/ 5570923 h 6858000"/>
              <a:gd name="connsiteX13" fmla="*/ 857477 w 6851649"/>
              <a:gd name="connsiteY13" fmla="*/ 6004035 h 6858000"/>
              <a:gd name="connsiteX14" fmla="*/ 2140970 w 6851649"/>
              <a:gd name="connsiteY14" fmla="*/ 5400675 h 6858000"/>
              <a:gd name="connsiteX15" fmla="*/ 3427867 w 6851649"/>
              <a:gd name="connsiteY15" fmla="*/ 2271944 h 6858000"/>
              <a:gd name="connsiteX16" fmla="*/ 3591906 w 6851649"/>
              <a:gd name="connsiteY16" fmla="*/ 2296453 h 6858000"/>
              <a:gd name="connsiteX17" fmla="*/ 5572636 w 6851649"/>
              <a:gd name="connsiteY17" fmla="*/ 3098423 h 6858000"/>
              <a:gd name="connsiteX18" fmla="*/ 5891187 w 6851649"/>
              <a:gd name="connsiteY18" fmla="*/ 3584507 h 6858000"/>
              <a:gd name="connsiteX19" fmla="*/ 5369799 w 6851649"/>
              <a:gd name="connsiteY19" fmla="*/ 5583306 h 6858000"/>
              <a:gd name="connsiteX20" fmla="*/ 4710917 w 6851649"/>
              <a:gd name="connsiteY20" fmla="*/ 5229295 h 6858000"/>
              <a:gd name="connsiteX21" fmla="*/ 3425825 w 6851649"/>
              <a:gd name="connsiteY21" fmla="*/ 5832475 h 6858000"/>
              <a:gd name="connsiteX22" fmla="*/ 2140733 w 6851649"/>
              <a:gd name="connsiteY22" fmla="*/ 5229295 h 6858000"/>
              <a:gd name="connsiteX23" fmla="*/ 1480490 w 6851649"/>
              <a:gd name="connsiteY23" fmla="*/ 5580583 h 6858000"/>
              <a:gd name="connsiteX24" fmla="*/ 960463 w 6851649"/>
              <a:gd name="connsiteY24" fmla="*/ 3584507 h 6858000"/>
              <a:gd name="connsiteX25" fmla="*/ 1279013 w 6851649"/>
              <a:gd name="connsiteY25" fmla="*/ 3098423 h 6858000"/>
              <a:gd name="connsiteX26" fmla="*/ 3259743 w 6851649"/>
              <a:gd name="connsiteY26" fmla="*/ 2296453 h 6858000"/>
              <a:gd name="connsiteX27" fmla="*/ 3427867 w 6851649"/>
              <a:gd name="connsiteY27" fmla="*/ 2271944 h 6858000"/>
              <a:gd name="connsiteX28" fmla="*/ 2141849 w 6851649"/>
              <a:gd name="connsiteY28" fmla="*/ 1884362 h 6858000"/>
              <a:gd name="connsiteX29" fmla="*/ 4711388 w 6851649"/>
              <a:gd name="connsiteY29" fmla="*/ 1884362 h 6858000"/>
              <a:gd name="connsiteX30" fmla="*/ 5138737 w 6851649"/>
              <a:gd name="connsiteY30" fmla="*/ 2311491 h 6858000"/>
              <a:gd name="connsiteX31" fmla="*/ 5138737 w 6851649"/>
              <a:gd name="connsiteY31" fmla="*/ 2597150 h 6858000"/>
              <a:gd name="connsiteX32" fmla="*/ 3426618 w 6851649"/>
              <a:gd name="connsiteY32" fmla="*/ 2055758 h 6858000"/>
              <a:gd name="connsiteX33" fmla="*/ 1714500 w 6851649"/>
              <a:gd name="connsiteY33" fmla="*/ 2597150 h 6858000"/>
              <a:gd name="connsiteX34" fmla="*/ 1714500 w 6851649"/>
              <a:gd name="connsiteY34" fmla="*/ 2311491 h 6858000"/>
              <a:gd name="connsiteX35" fmla="*/ 2141849 w 6851649"/>
              <a:gd name="connsiteY35" fmla="*/ 1884362 h 6858000"/>
              <a:gd name="connsiteX36" fmla="*/ 2570087 w 6851649"/>
              <a:gd name="connsiteY36" fmla="*/ 1027112 h 6858000"/>
              <a:gd name="connsiteX37" fmla="*/ 4281563 w 6851649"/>
              <a:gd name="connsiteY37" fmla="*/ 1027112 h 6858000"/>
              <a:gd name="connsiteX38" fmla="*/ 4710112 w 6851649"/>
              <a:gd name="connsiteY38" fmla="*/ 1455226 h 6858000"/>
              <a:gd name="connsiteX39" fmla="*/ 4710112 w 6851649"/>
              <a:gd name="connsiteY39" fmla="*/ 1712912 h 6858000"/>
              <a:gd name="connsiteX40" fmla="*/ 2141538 w 6851649"/>
              <a:gd name="connsiteY40" fmla="*/ 1712912 h 6858000"/>
              <a:gd name="connsiteX41" fmla="*/ 2141538 w 6851649"/>
              <a:gd name="connsiteY41" fmla="*/ 1455226 h 6858000"/>
              <a:gd name="connsiteX42" fmla="*/ 2570087 w 6851649"/>
              <a:gd name="connsiteY42" fmla="*/ 1027112 h 6858000"/>
              <a:gd name="connsiteX43" fmla="*/ 3854336 w 6851649"/>
              <a:gd name="connsiteY43" fmla="*/ 0 h 6858000"/>
              <a:gd name="connsiteX44" fmla="*/ 4281487 w 6851649"/>
              <a:gd name="connsiteY44" fmla="*/ 427151 h 6858000"/>
              <a:gd name="connsiteX45" fmla="*/ 4281487 w 6851649"/>
              <a:gd name="connsiteY45" fmla="*/ 855663 h 6858000"/>
              <a:gd name="connsiteX46" fmla="*/ 3425824 w 6851649"/>
              <a:gd name="connsiteY46" fmla="*/ 855663 h 6858000"/>
              <a:gd name="connsiteX47" fmla="*/ 3425824 w 6851649"/>
              <a:gd name="connsiteY47" fmla="*/ 427151 h 6858000"/>
              <a:gd name="connsiteX48" fmla="*/ 3854336 w 6851649"/>
              <a:gd name="connsiteY4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6851649" h="6858000">
                <a:moveTo>
                  <a:pt x="2140970" y="5400675"/>
                </a:moveTo>
                <a:cubicBezTo>
                  <a:pt x="2609180" y="5400675"/>
                  <a:pt x="2826952" y="6004035"/>
                  <a:pt x="3425824" y="6004035"/>
                </a:cubicBezTo>
                <a:cubicBezTo>
                  <a:pt x="4024697" y="6004035"/>
                  <a:pt x="4242469" y="5400675"/>
                  <a:pt x="4710679" y="5400675"/>
                </a:cubicBezTo>
                <a:cubicBezTo>
                  <a:pt x="5177527" y="5400675"/>
                  <a:pt x="5396660" y="6004035"/>
                  <a:pt x="5994172" y="6004035"/>
                </a:cubicBezTo>
                <a:cubicBezTo>
                  <a:pt x="6373912" y="6004035"/>
                  <a:pt x="6614822" y="5761602"/>
                  <a:pt x="6851649" y="5584543"/>
                </a:cubicBezTo>
                <a:cubicBezTo>
                  <a:pt x="6851649" y="5584543"/>
                  <a:pt x="6851649" y="5584543"/>
                  <a:pt x="6851649" y="6438509"/>
                </a:cubicBezTo>
                <a:cubicBezTo>
                  <a:pt x="6614822" y="6615567"/>
                  <a:pt x="6373912" y="6858000"/>
                  <a:pt x="5994172" y="6858000"/>
                </a:cubicBezTo>
                <a:cubicBezTo>
                  <a:pt x="5396660" y="6858000"/>
                  <a:pt x="5177527" y="6254640"/>
                  <a:pt x="4710679" y="6254640"/>
                </a:cubicBezTo>
                <a:cubicBezTo>
                  <a:pt x="4242469" y="6254640"/>
                  <a:pt x="4024697" y="6858000"/>
                  <a:pt x="3425824" y="6858000"/>
                </a:cubicBezTo>
                <a:cubicBezTo>
                  <a:pt x="2826952" y="6858000"/>
                  <a:pt x="2609180" y="6254640"/>
                  <a:pt x="2140970" y="6254640"/>
                </a:cubicBezTo>
                <a:cubicBezTo>
                  <a:pt x="1674122" y="6254640"/>
                  <a:pt x="1445461" y="6858000"/>
                  <a:pt x="857477" y="6858000"/>
                </a:cubicBezTo>
                <a:cubicBezTo>
                  <a:pt x="473654" y="6858000"/>
                  <a:pt x="243632" y="6603309"/>
                  <a:pt x="0" y="6424889"/>
                </a:cubicBezTo>
                <a:cubicBezTo>
                  <a:pt x="0" y="6424889"/>
                  <a:pt x="0" y="6424889"/>
                  <a:pt x="0" y="5570923"/>
                </a:cubicBezTo>
                <a:cubicBezTo>
                  <a:pt x="243632" y="5749344"/>
                  <a:pt x="473654" y="6004035"/>
                  <a:pt x="857477" y="6004035"/>
                </a:cubicBezTo>
                <a:cubicBezTo>
                  <a:pt x="1445461" y="6004035"/>
                  <a:pt x="1674122" y="5400675"/>
                  <a:pt x="2140970" y="5400675"/>
                </a:cubicBezTo>
                <a:close/>
                <a:moveTo>
                  <a:pt x="3427867" y="2271944"/>
                </a:moveTo>
                <a:cubicBezTo>
                  <a:pt x="3469387" y="2271944"/>
                  <a:pt x="3510227" y="2280114"/>
                  <a:pt x="3591906" y="2296453"/>
                </a:cubicBezTo>
                <a:cubicBezTo>
                  <a:pt x="3591906" y="2296453"/>
                  <a:pt x="3591906" y="2296453"/>
                  <a:pt x="5572636" y="3098423"/>
                </a:cubicBezTo>
                <a:cubicBezTo>
                  <a:pt x="5805423" y="3136547"/>
                  <a:pt x="5948362" y="3355762"/>
                  <a:pt x="5891187" y="3584507"/>
                </a:cubicBezTo>
                <a:cubicBezTo>
                  <a:pt x="5891187" y="3584507"/>
                  <a:pt x="5891187" y="3584507"/>
                  <a:pt x="5369799" y="5583306"/>
                </a:cubicBezTo>
                <a:cubicBezTo>
                  <a:pt x="5154709" y="5417193"/>
                  <a:pt x="4972291" y="5229295"/>
                  <a:pt x="4710917" y="5229295"/>
                </a:cubicBezTo>
                <a:cubicBezTo>
                  <a:pt x="4242620" y="5229295"/>
                  <a:pt x="4024808" y="5832475"/>
                  <a:pt x="3425825" y="5832475"/>
                </a:cubicBezTo>
                <a:cubicBezTo>
                  <a:pt x="2826841" y="5832475"/>
                  <a:pt x="2609029" y="5229295"/>
                  <a:pt x="2140733" y="5229295"/>
                </a:cubicBezTo>
                <a:cubicBezTo>
                  <a:pt x="1882081" y="5229295"/>
                  <a:pt x="1695580" y="5415832"/>
                  <a:pt x="1480490" y="5580583"/>
                </a:cubicBezTo>
                <a:lnTo>
                  <a:pt x="960463" y="3584507"/>
                </a:lnTo>
                <a:cubicBezTo>
                  <a:pt x="903287" y="3355762"/>
                  <a:pt x="1046227" y="3136547"/>
                  <a:pt x="1279013" y="3098423"/>
                </a:cubicBezTo>
                <a:cubicBezTo>
                  <a:pt x="1279013" y="3098423"/>
                  <a:pt x="1279013" y="3098423"/>
                  <a:pt x="3259743" y="2296453"/>
                </a:cubicBezTo>
                <a:cubicBezTo>
                  <a:pt x="3344145" y="2280114"/>
                  <a:pt x="3386346" y="2271944"/>
                  <a:pt x="3427867" y="2271944"/>
                </a:cubicBezTo>
                <a:close/>
                <a:moveTo>
                  <a:pt x="2141849" y="1884362"/>
                </a:moveTo>
                <a:cubicBezTo>
                  <a:pt x="2141849" y="1884362"/>
                  <a:pt x="2141849" y="1884362"/>
                  <a:pt x="4711388" y="1884362"/>
                </a:cubicBezTo>
                <a:cubicBezTo>
                  <a:pt x="4946838" y="1884362"/>
                  <a:pt x="5138737" y="2076162"/>
                  <a:pt x="5138737" y="2311491"/>
                </a:cubicBezTo>
                <a:cubicBezTo>
                  <a:pt x="5138737" y="2311491"/>
                  <a:pt x="5138737" y="2311491"/>
                  <a:pt x="5138737" y="2597150"/>
                </a:cubicBezTo>
                <a:lnTo>
                  <a:pt x="3426618" y="2055758"/>
                </a:lnTo>
                <a:cubicBezTo>
                  <a:pt x="3426618" y="2055758"/>
                  <a:pt x="3426618" y="2055758"/>
                  <a:pt x="1714500" y="2597150"/>
                </a:cubicBezTo>
                <a:cubicBezTo>
                  <a:pt x="1714500" y="2597150"/>
                  <a:pt x="1714500" y="2597150"/>
                  <a:pt x="1714500" y="2311491"/>
                </a:cubicBezTo>
                <a:cubicBezTo>
                  <a:pt x="1714500" y="2076162"/>
                  <a:pt x="1906399" y="1884362"/>
                  <a:pt x="2141849" y="1884362"/>
                </a:cubicBezTo>
                <a:close/>
                <a:moveTo>
                  <a:pt x="2570087" y="1027112"/>
                </a:moveTo>
                <a:cubicBezTo>
                  <a:pt x="2570087" y="1027112"/>
                  <a:pt x="2570087" y="1027112"/>
                  <a:pt x="4281563" y="1027112"/>
                </a:cubicBezTo>
                <a:cubicBezTo>
                  <a:pt x="4516925" y="1027112"/>
                  <a:pt x="4710112" y="1219354"/>
                  <a:pt x="4710112" y="1455226"/>
                </a:cubicBezTo>
                <a:lnTo>
                  <a:pt x="4710112" y="1712912"/>
                </a:lnTo>
                <a:cubicBezTo>
                  <a:pt x="4710112" y="1712912"/>
                  <a:pt x="4710112" y="1712912"/>
                  <a:pt x="2141538" y="1712912"/>
                </a:cubicBezTo>
                <a:cubicBezTo>
                  <a:pt x="2141538" y="1712912"/>
                  <a:pt x="2141538" y="1712912"/>
                  <a:pt x="2141538" y="1455226"/>
                </a:cubicBezTo>
                <a:cubicBezTo>
                  <a:pt x="2141538" y="1219354"/>
                  <a:pt x="2334724" y="1027112"/>
                  <a:pt x="2570087" y="1027112"/>
                </a:cubicBezTo>
                <a:close/>
                <a:moveTo>
                  <a:pt x="3854336" y="0"/>
                </a:moveTo>
                <a:cubicBezTo>
                  <a:pt x="4089677" y="0"/>
                  <a:pt x="4281487" y="191810"/>
                  <a:pt x="4281487" y="427151"/>
                </a:cubicBezTo>
                <a:lnTo>
                  <a:pt x="4281487" y="855663"/>
                </a:lnTo>
                <a:cubicBezTo>
                  <a:pt x="4281487" y="855663"/>
                  <a:pt x="4281487" y="855663"/>
                  <a:pt x="3425824" y="855663"/>
                </a:cubicBezTo>
                <a:cubicBezTo>
                  <a:pt x="3425824" y="855663"/>
                  <a:pt x="3425824" y="855663"/>
                  <a:pt x="3425824" y="427151"/>
                </a:cubicBezTo>
                <a:cubicBezTo>
                  <a:pt x="3425824" y="191810"/>
                  <a:pt x="3618995" y="0"/>
                  <a:pt x="3854336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395" tIns="45698" rIns="91395" bIns="45698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2399"/>
          </a:p>
        </p:txBody>
      </p:sp>
      <p:pic>
        <p:nvPicPr>
          <p:cNvPr id="31" name="Grafik 26">
            <a:extLst>
              <a:ext uri="{FF2B5EF4-FFF2-40B4-BE49-F238E27FC236}">
                <a16:creationId xmlns:a16="http://schemas.microsoft.com/office/drawing/2014/main" id="{5D78074C-ACE7-45C1-BAF5-94F9AB15EEC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4693" y="1791407"/>
            <a:ext cx="446951" cy="494476"/>
          </a:xfrm>
          <a:prstGeom prst="rect">
            <a:avLst/>
          </a:prstGeom>
        </p:spPr>
      </p:pic>
      <p:sp>
        <p:nvSpPr>
          <p:cNvPr id="25" name="Freeform 24">
            <a:extLst>
              <a:ext uri="{FF2B5EF4-FFF2-40B4-BE49-F238E27FC236}">
                <a16:creationId xmlns:a16="http://schemas.microsoft.com/office/drawing/2014/main" id="{93E5C06E-ED00-4F8E-A037-A2A0CC7DE54B}"/>
              </a:ext>
            </a:extLst>
          </p:cNvPr>
          <p:cNvSpPr>
            <a:spLocks/>
          </p:cNvSpPr>
          <p:nvPr/>
        </p:nvSpPr>
        <p:spPr bwMode="auto">
          <a:xfrm>
            <a:off x="2605856" y="2706180"/>
            <a:ext cx="265831" cy="334781"/>
          </a:xfrm>
          <a:custGeom>
            <a:avLst/>
            <a:gdLst>
              <a:gd name="T0" fmla="*/ 2722 w 2955"/>
              <a:gd name="T1" fmla="*/ 3196 h 3721"/>
              <a:gd name="T2" fmla="*/ 2651 w 2955"/>
              <a:gd name="T3" fmla="*/ 3208 h 3721"/>
              <a:gd name="T4" fmla="*/ 2651 w 2955"/>
              <a:gd name="T5" fmla="*/ 3207 h 3721"/>
              <a:gd name="T6" fmla="*/ 2322 w 2955"/>
              <a:gd name="T7" fmla="*/ 3257 h 3721"/>
              <a:gd name="T8" fmla="*/ 1052 w 2955"/>
              <a:gd name="T9" fmla="*/ 2456 h 3721"/>
              <a:gd name="T10" fmla="*/ 2090 w 2955"/>
              <a:gd name="T11" fmla="*/ 2456 h 3721"/>
              <a:gd name="T12" fmla="*/ 2322 w 2955"/>
              <a:gd name="T13" fmla="*/ 2223 h 3721"/>
              <a:gd name="T14" fmla="*/ 2090 w 2955"/>
              <a:gd name="T15" fmla="*/ 1991 h 3721"/>
              <a:gd name="T16" fmla="*/ 934 w 2955"/>
              <a:gd name="T17" fmla="*/ 1991 h 3721"/>
              <a:gd name="T18" fmla="*/ 929 w 2955"/>
              <a:gd name="T19" fmla="*/ 1875 h 3721"/>
              <a:gd name="T20" fmla="*/ 934 w 2955"/>
              <a:gd name="T21" fmla="*/ 1759 h 3721"/>
              <a:gd name="T22" fmla="*/ 2322 w 2955"/>
              <a:gd name="T23" fmla="*/ 1759 h 3721"/>
              <a:gd name="T24" fmla="*/ 2554 w 2955"/>
              <a:gd name="T25" fmla="*/ 1527 h 3721"/>
              <a:gd name="T26" fmla="*/ 2322 w 2955"/>
              <a:gd name="T27" fmla="*/ 1295 h 3721"/>
              <a:gd name="T28" fmla="*/ 1052 w 2955"/>
              <a:gd name="T29" fmla="*/ 1295 h 3721"/>
              <a:gd name="T30" fmla="*/ 2322 w 2955"/>
              <a:gd name="T31" fmla="*/ 474 h 3721"/>
              <a:gd name="T32" fmla="*/ 2651 w 2955"/>
              <a:gd name="T33" fmla="*/ 510 h 3721"/>
              <a:gd name="T34" fmla="*/ 2651 w 2955"/>
              <a:gd name="T35" fmla="*/ 506 h 3721"/>
              <a:gd name="T36" fmla="*/ 2722 w 2955"/>
              <a:gd name="T37" fmla="*/ 517 h 3721"/>
              <a:gd name="T38" fmla="*/ 2955 w 2955"/>
              <a:gd name="T39" fmla="*/ 283 h 3721"/>
              <a:gd name="T40" fmla="*/ 2786 w 2955"/>
              <a:gd name="T41" fmla="*/ 60 h 3721"/>
              <a:gd name="T42" fmla="*/ 2786 w 2955"/>
              <a:gd name="T43" fmla="*/ 58 h 3721"/>
              <a:gd name="T44" fmla="*/ 2322 w 2955"/>
              <a:gd name="T45" fmla="*/ 10 h 3721"/>
              <a:gd name="T46" fmla="*/ 558 w 2955"/>
              <a:gd name="T47" fmla="*/ 1295 h 3721"/>
              <a:gd name="T48" fmla="*/ 232 w 2955"/>
              <a:gd name="T49" fmla="*/ 1295 h 3721"/>
              <a:gd name="T50" fmla="*/ 0 w 2955"/>
              <a:gd name="T51" fmla="*/ 1527 h 3721"/>
              <a:gd name="T52" fmla="*/ 232 w 2955"/>
              <a:gd name="T53" fmla="*/ 1759 h 3721"/>
              <a:gd name="T54" fmla="*/ 469 w 2955"/>
              <a:gd name="T55" fmla="*/ 1759 h 3721"/>
              <a:gd name="T56" fmla="*/ 466 w 2955"/>
              <a:gd name="T57" fmla="*/ 1788 h 3721"/>
              <a:gd name="T58" fmla="*/ 464 w 2955"/>
              <a:gd name="T59" fmla="*/ 1869 h 3721"/>
              <a:gd name="T60" fmla="*/ 468 w 2955"/>
              <a:gd name="T61" fmla="*/ 1991 h 3721"/>
              <a:gd name="T62" fmla="*/ 232 w 2955"/>
              <a:gd name="T63" fmla="*/ 1991 h 3721"/>
              <a:gd name="T64" fmla="*/ 0 w 2955"/>
              <a:gd name="T65" fmla="*/ 2223 h 3721"/>
              <a:gd name="T66" fmla="*/ 232 w 2955"/>
              <a:gd name="T67" fmla="*/ 2456 h 3721"/>
              <a:gd name="T68" fmla="*/ 558 w 2955"/>
              <a:gd name="T69" fmla="*/ 2456 h 3721"/>
              <a:gd name="T70" fmla="*/ 2322 w 2955"/>
              <a:gd name="T71" fmla="*/ 3721 h 3721"/>
              <a:gd name="T72" fmla="*/ 2786 w 2955"/>
              <a:gd name="T73" fmla="*/ 3657 h 3721"/>
              <a:gd name="T74" fmla="*/ 2786 w 2955"/>
              <a:gd name="T75" fmla="*/ 3653 h 3721"/>
              <a:gd name="T76" fmla="*/ 2955 w 2955"/>
              <a:gd name="T77" fmla="*/ 3429 h 3721"/>
              <a:gd name="T78" fmla="*/ 2722 w 2955"/>
              <a:gd name="T79" fmla="*/ 3196 h 3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55" h="3721">
                <a:moveTo>
                  <a:pt x="2722" y="3196"/>
                </a:moveTo>
                <a:cubicBezTo>
                  <a:pt x="2697" y="3196"/>
                  <a:pt x="2674" y="3201"/>
                  <a:pt x="2651" y="3208"/>
                </a:cubicBezTo>
                <a:cubicBezTo>
                  <a:pt x="2651" y="3207"/>
                  <a:pt x="2651" y="3207"/>
                  <a:pt x="2651" y="3207"/>
                </a:cubicBezTo>
                <a:cubicBezTo>
                  <a:pt x="2518" y="3247"/>
                  <a:pt x="2485" y="3257"/>
                  <a:pt x="2322" y="3257"/>
                </a:cubicBezTo>
                <a:cubicBezTo>
                  <a:pt x="1757" y="3257"/>
                  <a:pt x="1270" y="2920"/>
                  <a:pt x="1052" y="2456"/>
                </a:cubicBezTo>
                <a:cubicBezTo>
                  <a:pt x="2090" y="2456"/>
                  <a:pt x="2090" y="2456"/>
                  <a:pt x="2090" y="2456"/>
                </a:cubicBezTo>
                <a:cubicBezTo>
                  <a:pt x="2217" y="2456"/>
                  <a:pt x="2322" y="2351"/>
                  <a:pt x="2322" y="2223"/>
                </a:cubicBezTo>
                <a:cubicBezTo>
                  <a:pt x="2322" y="2096"/>
                  <a:pt x="2217" y="1991"/>
                  <a:pt x="2090" y="1991"/>
                </a:cubicBezTo>
                <a:cubicBezTo>
                  <a:pt x="934" y="1991"/>
                  <a:pt x="934" y="1991"/>
                  <a:pt x="934" y="1991"/>
                </a:cubicBezTo>
                <a:cubicBezTo>
                  <a:pt x="931" y="1945"/>
                  <a:pt x="929" y="1914"/>
                  <a:pt x="929" y="1875"/>
                </a:cubicBezTo>
                <a:cubicBezTo>
                  <a:pt x="929" y="1836"/>
                  <a:pt x="931" y="1759"/>
                  <a:pt x="934" y="1759"/>
                </a:cubicBezTo>
                <a:cubicBezTo>
                  <a:pt x="2322" y="1759"/>
                  <a:pt x="2322" y="1759"/>
                  <a:pt x="2322" y="1759"/>
                </a:cubicBezTo>
                <a:cubicBezTo>
                  <a:pt x="2450" y="1759"/>
                  <a:pt x="2554" y="1654"/>
                  <a:pt x="2554" y="1527"/>
                </a:cubicBezTo>
                <a:cubicBezTo>
                  <a:pt x="2554" y="1399"/>
                  <a:pt x="2450" y="1295"/>
                  <a:pt x="2322" y="1295"/>
                </a:cubicBezTo>
                <a:cubicBezTo>
                  <a:pt x="1052" y="1295"/>
                  <a:pt x="1052" y="1295"/>
                  <a:pt x="1052" y="1295"/>
                </a:cubicBezTo>
                <a:cubicBezTo>
                  <a:pt x="1271" y="784"/>
                  <a:pt x="1757" y="474"/>
                  <a:pt x="2322" y="474"/>
                </a:cubicBezTo>
                <a:cubicBezTo>
                  <a:pt x="2485" y="474"/>
                  <a:pt x="2518" y="470"/>
                  <a:pt x="2651" y="510"/>
                </a:cubicBezTo>
                <a:cubicBezTo>
                  <a:pt x="2651" y="506"/>
                  <a:pt x="2651" y="506"/>
                  <a:pt x="2651" y="506"/>
                </a:cubicBezTo>
                <a:cubicBezTo>
                  <a:pt x="2674" y="513"/>
                  <a:pt x="2697" y="517"/>
                  <a:pt x="2722" y="517"/>
                </a:cubicBezTo>
                <a:cubicBezTo>
                  <a:pt x="2851" y="517"/>
                  <a:pt x="2955" y="412"/>
                  <a:pt x="2955" y="283"/>
                </a:cubicBezTo>
                <a:cubicBezTo>
                  <a:pt x="2955" y="177"/>
                  <a:pt x="2883" y="88"/>
                  <a:pt x="2786" y="60"/>
                </a:cubicBezTo>
                <a:cubicBezTo>
                  <a:pt x="2786" y="58"/>
                  <a:pt x="2786" y="58"/>
                  <a:pt x="2786" y="58"/>
                </a:cubicBezTo>
                <a:cubicBezTo>
                  <a:pt x="2611" y="0"/>
                  <a:pt x="2482" y="10"/>
                  <a:pt x="2322" y="10"/>
                </a:cubicBezTo>
                <a:cubicBezTo>
                  <a:pt x="1500" y="10"/>
                  <a:pt x="803" y="552"/>
                  <a:pt x="558" y="1295"/>
                </a:cubicBezTo>
                <a:cubicBezTo>
                  <a:pt x="232" y="1295"/>
                  <a:pt x="232" y="1295"/>
                  <a:pt x="232" y="1295"/>
                </a:cubicBezTo>
                <a:cubicBezTo>
                  <a:pt x="104" y="1295"/>
                  <a:pt x="0" y="1399"/>
                  <a:pt x="0" y="1527"/>
                </a:cubicBezTo>
                <a:cubicBezTo>
                  <a:pt x="0" y="1654"/>
                  <a:pt x="104" y="1759"/>
                  <a:pt x="232" y="1759"/>
                </a:cubicBezTo>
                <a:cubicBezTo>
                  <a:pt x="469" y="1759"/>
                  <a:pt x="469" y="1759"/>
                  <a:pt x="469" y="1759"/>
                </a:cubicBezTo>
                <a:cubicBezTo>
                  <a:pt x="468" y="1759"/>
                  <a:pt x="467" y="1774"/>
                  <a:pt x="466" y="1788"/>
                </a:cubicBezTo>
                <a:cubicBezTo>
                  <a:pt x="465" y="1812"/>
                  <a:pt x="464" y="1843"/>
                  <a:pt x="464" y="1869"/>
                </a:cubicBezTo>
                <a:cubicBezTo>
                  <a:pt x="464" y="1908"/>
                  <a:pt x="466" y="1945"/>
                  <a:pt x="468" y="1991"/>
                </a:cubicBezTo>
                <a:cubicBezTo>
                  <a:pt x="232" y="1991"/>
                  <a:pt x="232" y="1991"/>
                  <a:pt x="232" y="1991"/>
                </a:cubicBezTo>
                <a:cubicBezTo>
                  <a:pt x="104" y="1991"/>
                  <a:pt x="0" y="2096"/>
                  <a:pt x="0" y="2223"/>
                </a:cubicBezTo>
                <a:cubicBezTo>
                  <a:pt x="0" y="2351"/>
                  <a:pt x="104" y="2456"/>
                  <a:pt x="232" y="2456"/>
                </a:cubicBezTo>
                <a:cubicBezTo>
                  <a:pt x="558" y="2456"/>
                  <a:pt x="558" y="2456"/>
                  <a:pt x="558" y="2456"/>
                </a:cubicBezTo>
                <a:cubicBezTo>
                  <a:pt x="802" y="3152"/>
                  <a:pt x="1499" y="3721"/>
                  <a:pt x="2322" y="3721"/>
                </a:cubicBezTo>
                <a:cubicBezTo>
                  <a:pt x="2482" y="3721"/>
                  <a:pt x="2611" y="3715"/>
                  <a:pt x="2786" y="3657"/>
                </a:cubicBezTo>
                <a:cubicBezTo>
                  <a:pt x="2786" y="3653"/>
                  <a:pt x="2786" y="3653"/>
                  <a:pt x="2786" y="3653"/>
                </a:cubicBezTo>
                <a:cubicBezTo>
                  <a:pt x="2883" y="3625"/>
                  <a:pt x="2955" y="3535"/>
                  <a:pt x="2955" y="3429"/>
                </a:cubicBezTo>
                <a:cubicBezTo>
                  <a:pt x="2955" y="3301"/>
                  <a:pt x="2851" y="3196"/>
                  <a:pt x="2722" y="319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395" tIns="45698" rIns="91395" bIns="45698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9pPr>
          </a:lstStyle>
          <a:p>
            <a:endParaRPr lang="de-DE" sz="2399"/>
          </a:p>
        </p:txBody>
      </p:sp>
      <p:pic>
        <p:nvPicPr>
          <p:cNvPr id="26" name="Picture 49" descr="C:\Users\lorensi\Pictures\icons\location-round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69527" y="3491477"/>
            <a:ext cx="527214" cy="527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52D70A7C-D6F4-CA41-8BE3-070F2FD6E8A7}"/>
              </a:ext>
            </a:extLst>
          </p:cNvPr>
          <p:cNvGrpSpPr/>
          <p:nvPr/>
        </p:nvGrpSpPr>
        <p:grpSpPr>
          <a:xfrm>
            <a:off x="5977062" y="1634396"/>
            <a:ext cx="2201275" cy="792088"/>
            <a:chOff x="8065293" y="3168079"/>
            <a:chExt cx="3600400" cy="792088"/>
          </a:xfrm>
        </p:grpSpPr>
        <p:sp>
          <p:nvSpPr>
            <p:cNvPr id="28" name="Rechteck 14">
              <a:extLst>
                <a:ext uri="{FF2B5EF4-FFF2-40B4-BE49-F238E27FC236}">
                  <a16:creationId xmlns:a16="http://schemas.microsoft.com/office/drawing/2014/main" id="{890B3C0B-55F8-5C45-8431-020C317D8E6A}"/>
                </a:ext>
              </a:extLst>
            </p:cNvPr>
            <p:cNvSpPr/>
            <p:nvPr/>
          </p:nvSpPr>
          <p:spPr bwMode="gray">
            <a:xfrm>
              <a:off x="8065293" y="3168079"/>
              <a:ext cx="3600400" cy="792088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l">
                <a:buClr>
                  <a:srgbClr val="9B9B9B"/>
                </a:buClr>
              </a:pPr>
              <a:r>
                <a:rPr lang="en-US" sz="2000" b="1" kern="0" dirty="0">
                  <a:solidFill>
                    <a:schemeClr val="accent1"/>
                  </a:solidFill>
                  <a:latin typeface="+mn-lt"/>
                </a:rPr>
                <a:t>20</a:t>
              </a:r>
              <a:r>
                <a:rPr lang="en-US" sz="1800" b="1" kern="0" dirty="0">
                  <a:solidFill>
                    <a:schemeClr val="accent1"/>
                  </a:solidFill>
                  <a:latin typeface="+mn-lt"/>
                </a:rPr>
                <a:t> </a:t>
              </a:r>
              <a:r>
                <a:rPr lang="en-US" sz="1800" dirty="0">
                  <a:solidFill>
                    <a:schemeClr val="bg1"/>
                  </a:solidFill>
                </a:rPr>
                <a:t>Data Centers</a:t>
              </a:r>
              <a:endParaRPr lang="de-DE" sz="1800" kern="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2B46B581-AC21-C646-B049-13B1A124A22B}"/>
                </a:ext>
              </a:extLst>
            </p:cNvPr>
            <p:cNvGrpSpPr/>
            <p:nvPr/>
          </p:nvGrpSpPr>
          <p:grpSpPr>
            <a:xfrm>
              <a:off x="10585573" y="3240087"/>
              <a:ext cx="720080" cy="648072"/>
              <a:chOff x="5517381" y="1772614"/>
              <a:chExt cx="309817" cy="347059"/>
            </a:xfrm>
            <a:solidFill>
              <a:schemeClr val="tx1"/>
            </a:solidFill>
          </p:grpSpPr>
          <p:sp>
            <p:nvSpPr>
              <p:cNvPr id="30" name="Rectangle 38">
                <a:extLst>
                  <a:ext uri="{FF2B5EF4-FFF2-40B4-BE49-F238E27FC236}">
                    <a16:creationId xmlns:a16="http://schemas.microsoft.com/office/drawing/2014/main" id="{5C752B25-D4C7-5243-AFF7-2997E4D348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2576" y="1851851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4" name="Rectangle 39">
                <a:extLst>
                  <a:ext uri="{FF2B5EF4-FFF2-40B4-BE49-F238E27FC236}">
                    <a16:creationId xmlns:a16="http://schemas.microsoft.com/office/drawing/2014/main" id="{BFD83219-FBE4-F646-8854-B14C161DA5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1402" y="1851851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5" name="Rectangle 40">
                <a:extLst>
                  <a:ext uri="{FF2B5EF4-FFF2-40B4-BE49-F238E27FC236}">
                    <a16:creationId xmlns:a16="http://schemas.microsoft.com/office/drawing/2014/main" id="{D7FD4852-0F4D-7C41-9ACF-3CE202CD2B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2576" y="1893055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" name="Rectangle 41">
                <a:extLst>
                  <a:ext uri="{FF2B5EF4-FFF2-40B4-BE49-F238E27FC236}">
                    <a16:creationId xmlns:a16="http://schemas.microsoft.com/office/drawing/2014/main" id="{6979F889-845F-C34A-BE88-55A1430383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1402" y="1893055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7" name="Rectangle 42">
                <a:extLst>
                  <a:ext uri="{FF2B5EF4-FFF2-40B4-BE49-F238E27FC236}">
                    <a16:creationId xmlns:a16="http://schemas.microsoft.com/office/drawing/2014/main" id="{7057C5A7-E79D-5A4D-B0A7-A8043B7E36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7000" y="1974669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9" name="Rectangle 43">
                <a:extLst>
                  <a:ext uri="{FF2B5EF4-FFF2-40B4-BE49-F238E27FC236}">
                    <a16:creationId xmlns:a16="http://schemas.microsoft.com/office/drawing/2014/main" id="{D75FCF11-F574-3B45-91A4-232BC06670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7000" y="2098279"/>
                <a:ext cx="20602" cy="19809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0" name="Rectangle 44">
                <a:extLst>
                  <a:ext uri="{FF2B5EF4-FFF2-40B4-BE49-F238E27FC236}">
                    <a16:creationId xmlns:a16="http://schemas.microsoft.com/office/drawing/2014/main" id="{EE2E7E03-BDE3-B543-B29F-7CABAED816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7000" y="2057076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1" name="Rectangle 45">
                <a:extLst>
                  <a:ext uri="{FF2B5EF4-FFF2-40B4-BE49-F238E27FC236}">
                    <a16:creationId xmlns:a16="http://schemas.microsoft.com/office/drawing/2014/main" id="{406E0DAC-B043-6847-8DBF-6299C7DE45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7000" y="2015872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2" name="Rectangle 46">
                <a:extLst>
                  <a:ext uri="{FF2B5EF4-FFF2-40B4-BE49-F238E27FC236}">
                    <a16:creationId xmlns:a16="http://schemas.microsoft.com/office/drawing/2014/main" id="{3F448928-9F26-8A4B-A4A8-89A8D29F2D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66978" y="2098279"/>
                <a:ext cx="20602" cy="19809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3" name="Rectangle 47">
                <a:extLst>
                  <a:ext uri="{FF2B5EF4-FFF2-40B4-BE49-F238E27FC236}">
                    <a16:creationId xmlns:a16="http://schemas.microsoft.com/office/drawing/2014/main" id="{7C4BEC39-6D82-9E4D-BBEC-30E2968A16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66978" y="2057076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4" name="Rectangle 48">
                <a:extLst>
                  <a:ext uri="{FF2B5EF4-FFF2-40B4-BE49-F238E27FC236}">
                    <a16:creationId xmlns:a16="http://schemas.microsoft.com/office/drawing/2014/main" id="{EBECA125-962D-044C-A5A7-5522DCAADA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66978" y="2015872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5" name="Rectangle 49">
                <a:extLst>
                  <a:ext uri="{FF2B5EF4-FFF2-40B4-BE49-F238E27FC236}">
                    <a16:creationId xmlns:a16="http://schemas.microsoft.com/office/drawing/2014/main" id="{CFCA9EC6-68D0-154C-B970-FB3D5C6A50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2576" y="2099071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6" name="Rectangle 50">
                <a:extLst>
                  <a:ext uri="{FF2B5EF4-FFF2-40B4-BE49-F238E27FC236}">
                    <a16:creationId xmlns:a16="http://schemas.microsoft.com/office/drawing/2014/main" id="{697102AB-07B0-304E-9006-05C3CFC16F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1402" y="2099071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3" name="Rectangle 51">
                <a:extLst>
                  <a:ext uri="{FF2B5EF4-FFF2-40B4-BE49-F238E27FC236}">
                    <a16:creationId xmlns:a16="http://schemas.microsoft.com/office/drawing/2014/main" id="{9C8E845E-EA68-3448-9783-6551CF82FC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2576" y="2057868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4" name="Rectangle 52">
                <a:extLst>
                  <a:ext uri="{FF2B5EF4-FFF2-40B4-BE49-F238E27FC236}">
                    <a16:creationId xmlns:a16="http://schemas.microsoft.com/office/drawing/2014/main" id="{1E32265C-CF7A-2D42-A0D2-C25EF845DA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1402" y="2057868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5" name="Rectangle 53">
                <a:extLst>
                  <a:ext uri="{FF2B5EF4-FFF2-40B4-BE49-F238E27FC236}">
                    <a16:creationId xmlns:a16="http://schemas.microsoft.com/office/drawing/2014/main" id="{32181C41-5524-5B4A-9219-AED930F611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2576" y="2016665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6" name="Rectangle 54">
                <a:extLst>
                  <a:ext uri="{FF2B5EF4-FFF2-40B4-BE49-F238E27FC236}">
                    <a16:creationId xmlns:a16="http://schemas.microsoft.com/office/drawing/2014/main" id="{08596409-E399-C24F-BA4E-07D97226BE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1402" y="2016665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7" name="Rectangle 55">
                <a:extLst>
                  <a:ext uri="{FF2B5EF4-FFF2-40B4-BE49-F238E27FC236}">
                    <a16:creationId xmlns:a16="http://schemas.microsoft.com/office/drawing/2014/main" id="{03F09324-B281-E346-BDFD-BE1034B86B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2576" y="1975461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8" name="Rectangle 56">
                <a:extLst>
                  <a:ext uri="{FF2B5EF4-FFF2-40B4-BE49-F238E27FC236}">
                    <a16:creationId xmlns:a16="http://schemas.microsoft.com/office/drawing/2014/main" id="{B1268522-626C-A14C-8C31-5E29470A6E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1402" y="1975461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9" name="Rectangle 57">
                <a:extLst>
                  <a:ext uri="{FF2B5EF4-FFF2-40B4-BE49-F238E27FC236}">
                    <a16:creationId xmlns:a16="http://schemas.microsoft.com/office/drawing/2014/main" id="{8A3F9B1D-CC4A-8846-910F-88DF2F7736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2576" y="1934258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0" name="Rectangle 58">
                <a:extLst>
                  <a:ext uri="{FF2B5EF4-FFF2-40B4-BE49-F238E27FC236}">
                    <a16:creationId xmlns:a16="http://schemas.microsoft.com/office/drawing/2014/main" id="{0CC89942-9251-AF4D-B6B3-AA7A7C5B90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1402" y="1934258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1" name="Freeform 59">
                <a:extLst>
                  <a:ext uri="{FF2B5EF4-FFF2-40B4-BE49-F238E27FC236}">
                    <a16:creationId xmlns:a16="http://schemas.microsoft.com/office/drawing/2014/main" id="{1E9DE2BC-3A68-D240-BA5C-59DEA3CC36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7381" y="1935050"/>
                <a:ext cx="60220" cy="184623"/>
              </a:xfrm>
              <a:custGeom>
                <a:avLst/>
                <a:gdLst>
                  <a:gd name="T0" fmla="*/ 0 w 152"/>
                  <a:gd name="T1" fmla="*/ 65 h 466"/>
                  <a:gd name="T2" fmla="*/ 0 w 152"/>
                  <a:gd name="T3" fmla="*/ 466 h 466"/>
                  <a:gd name="T4" fmla="*/ 44 w 152"/>
                  <a:gd name="T5" fmla="*/ 466 h 466"/>
                  <a:gd name="T6" fmla="*/ 44 w 152"/>
                  <a:gd name="T7" fmla="*/ 65 h 466"/>
                  <a:gd name="T8" fmla="*/ 44 w 152"/>
                  <a:gd name="T9" fmla="*/ 65 h 466"/>
                  <a:gd name="T10" fmla="*/ 46 w 152"/>
                  <a:gd name="T11" fmla="*/ 58 h 466"/>
                  <a:gd name="T12" fmla="*/ 52 w 152"/>
                  <a:gd name="T13" fmla="*/ 52 h 466"/>
                  <a:gd name="T14" fmla="*/ 57 w 152"/>
                  <a:gd name="T15" fmla="*/ 48 h 466"/>
                  <a:gd name="T16" fmla="*/ 65 w 152"/>
                  <a:gd name="T17" fmla="*/ 47 h 466"/>
                  <a:gd name="T18" fmla="*/ 152 w 152"/>
                  <a:gd name="T19" fmla="*/ 47 h 466"/>
                  <a:gd name="T20" fmla="*/ 152 w 152"/>
                  <a:gd name="T21" fmla="*/ 0 h 466"/>
                  <a:gd name="T22" fmla="*/ 65 w 152"/>
                  <a:gd name="T23" fmla="*/ 0 h 466"/>
                  <a:gd name="T24" fmla="*/ 65 w 152"/>
                  <a:gd name="T25" fmla="*/ 0 h 466"/>
                  <a:gd name="T26" fmla="*/ 52 w 152"/>
                  <a:gd name="T27" fmla="*/ 2 h 466"/>
                  <a:gd name="T28" fmla="*/ 39 w 152"/>
                  <a:gd name="T29" fmla="*/ 6 h 466"/>
                  <a:gd name="T30" fmla="*/ 28 w 152"/>
                  <a:gd name="T31" fmla="*/ 11 h 466"/>
                  <a:gd name="T32" fmla="*/ 19 w 152"/>
                  <a:gd name="T33" fmla="*/ 21 h 466"/>
                  <a:gd name="T34" fmla="*/ 11 w 152"/>
                  <a:gd name="T35" fmla="*/ 30 h 466"/>
                  <a:gd name="T36" fmla="*/ 6 w 152"/>
                  <a:gd name="T37" fmla="*/ 41 h 466"/>
                  <a:gd name="T38" fmla="*/ 2 w 152"/>
                  <a:gd name="T39" fmla="*/ 52 h 466"/>
                  <a:gd name="T40" fmla="*/ 0 w 152"/>
                  <a:gd name="T41" fmla="*/ 65 h 466"/>
                  <a:gd name="T42" fmla="*/ 0 w 152"/>
                  <a:gd name="T43" fmla="*/ 65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52" h="466">
                    <a:moveTo>
                      <a:pt x="0" y="65"/>
                    </a:moveTo>
                    <a:lnTo>
                      <a:pt x="0" y="466"/>
                    </a:lnTo>
                    <a:lnTo>
                      <a:pt x="44" y="466"/>
                    </a:lnTo>
                    <a:lnTo>
                      <a:pt x="44" y="65"/>
                    </a:lnTo>
                    <a:lnTo>
                      <a:pt x="44" y="65"/>
                    </a:lnTo>
                    <a:lnTo>
                      <a:pt x="46" y="58"/>
                    </a:lnTo>
                    <a:lnTo>
                      <a:pt x="52" y="52"/>
                    </a:lnTo>
                    <a:lnTo>
                      <a:pt x="57" y="48"/>
                    </a:lnTo>
                    <a:lnTo>
                      <a:pt x="65" y="47"/>
                    </a:lnTo>
                    <a:lnTo>
                      <a:pt x="152" y="47"/>
                    </a:lnTo>
                    <a:lnTo>
                      <a:pt x="152" y="0"/>
                    </a:lnTo>
                    <a:lnTo>
                      <a:pt x="65" y="0"/>
                    </a:lnTo>
                    <a:lnTo>
                      <a:pt x="65" y="0"/>
                    </a:lnTo>
                    <a:lnTo>
                      <a:pt x="52" y="2"/>
                    </a:lnTo>
                    <a:lnTo>
                      <a:pt x="39" y="6"/>
                    </a:lnTo>
                    <a:lnTo>
                      <a:pt x="28" y="11"/>
                    </a:lnTo>
                    <a:lnTo>
                      <a:pt x="19" y="21"/>
                    </a:lnTo>
                    <a:lnTo>
                      <a:pt x="11" y="30"/>
                    </a:lnTo>
                    <a:lnTo>
                      <a:pt x="6" y="41"/>
                    </a:lnTo>
                    <a:lnTo>
                      <a:pt x="2" y="52"/>
                    </a:lnTo>
                    <a:lnTo>
                      <a:pt x="0" y="65"/>
                    </a:lnTo>
                    <a:lnTo>
                      <a:pt x="0" y="6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2" name="Freeform 60">
                <a:extLst>
                  <a:ext uri="{FF2B5EF4-FFF2-40B4-BE49-F238E27FC236}">
                    <a16:creationId xmlns:a16="http://schemas.microsoft.com/office/drawing/2014/main" id="{CB460D47-FC3C-2249-87A4-8CF224EA24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6978" y="1976254"/>
                <a:ext cx="60220" cy="143419"/>
              </a:xfrm>
              <a:custGeom>
                <a:avLst/>
                <a:gdLst>
                  <a:gd name="T0" fmla="*/ 87 w 152"/>
                  <a:gd name="T1" fmla="*/ 0 h 360"/>
                  <a:gd name="T2" fmla="*/ 0 w 152"/>
                  <a:gd name="T3" fmla="*/ 0 h 360"/>
                  <a:gd name="T4" fmla="*/ 0 w 152"/>
                  <a:gd name="T5" fmla="*/ 44 h 360"/>
                  <a:gd name="T6" fmla="*/ 87 w 152"/>
                  <a:gd name="T7" fmla="*/ 44 h 360"/>
                  <a:gd name="T8" fmla="*/ 87 w 152"/>
                  <a:gd name="T9" fmla="*/ 44 h 360"/>
                  <a:gd name="T10" fmla="*/ 95 w 152"/>
                  <a:gd name="T11" fmla="*/ 46 h 360"/>
                  <a:gd name="T12" fmla="*/ 100 w 152"/>
                  <a:gd name="T13" fmla="*/ 50 h 360"/>
                  <a:gd name="T14" fmla="*/ 104 w 152"/>
                  <a:gd name="T15" fmla="*/ 57 h 360"/>
                  <a:gd name="T16" fmla="*/ 106 w 152"/>
                  <a:gd name="T17" fmla="*/ 65 h 360"/>
                  <a:gd name="T18" fmla="*/ 106 w 152"/>
                  <a:gd name="T19" fmla="*/ 360 h 360"/>
                  <a:gd name="T20" fmla="*/ 152 w 152"/>
                  <a:gd name="T21" fmla="*/ 360 h 360"/>
                  <a:gd name="T22" fmla="*/ 152 w 152"/>
                  <a:gd name="T23" fmla="*/ 65 h 360"/>
                  <a:gd name="T24" fmla="*/ 152 w 152"/>
                  <a:gd name="T25" fmla="*/ 65 h 360"/>
                  <a:gd name="T26" fmla="*/ 151 w 152"/>
                  <a:gd name="T27" fmla="*/ 52 h 360"/>
                  <a:gd name="T28" fmla="*/ 147 w 152"/>
                  <a:gd name="T29" fmla="*/ 39 h 360"/>
                  <a:gd name="T30" fmla="*/ 141 w 152"/>
                  <a:gd name="T31" fmla="*/ 28 h 360"/>
                  <a:gd name="T32" fmla="*/ 134 w 152"/>
                  <a:gd name="T33" fmla="*/ 18 h 360"/>
                  <a:gd name="T34" fmla="*/ 123 w 152"/>
                  <a:gd name="T35" fmla="*/ 11 h 360"/>
                  <a:gd name="T36" fmla="*/ 112 w 152"/>
                  <a:gd name="T37" fmla="*/ 5 h 360"/>
                  <a:gd name="T38" fmla="*/ 100 w 152"/>
                  <a:gd name="T39" fmla="*/ 0 h 360"/>
                  <a:gd name="T40" fmla="*/ 87 w 152"/>
                  <a:gd name="T41" fmla="*/ 0 h 360"/>
                  <a:gd name="T42" fmla="*/ 87 w 152"/>
                  <a:gd name="T43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52" h="360">
                    <a:moveTo>
                      <a:pt x="87" y="0"/>
                    </a:moveTo>
                    <a:lnTo>
                      <a:pt x="0" y="0"/>
                    </a:lnTo>
                    <a:lnTo>
                      <a:pt x="0" y="44"/>
                    </a:lnTo>
                    <a:lnTo>
                      <a:pt x="87" y="44"/>
                    </a:lnTo>
                    <a:lnTo>
                      <a:pt x="87" y="44"/>
                    </a:lnTo>
                    <a:lnTo>
                      <a:pt x="95" y="46"/>
                    </a:lnTo>
                    <a:lnTo>
                      <a:pt x="100" y="50"/>
                    </a:lnTo>
                    <a:lnTo>
                      <a:pt x="104" y="57"/>
                    </a:lnTo>
                    <a:lnTo>
                      <a:pt x="106" y="65"/>
                    </a:lnTo>
                    <a:lnTo>
                      <a:pt x="106" y="360"/>
                    </a:lnTo>
                    <a:lnTo>
                      <a:pt x="152" y="360"/>
                    </a:lnTo>
                    <a:lnTo>
                      <a:pt x="152" y="65"/>
                    </a:lnTo>
                    <a:lnTo>
                      <a:pt x="152" y="65"/>
                    </a:lnTo>
                    <a:lnTo>
                      <a:pt x="151" y="52"/>
                    </a:lnTo>
                    <a:lnTo>
                      <a:pt x="147" y="39"/>
                    </a:lnTo>
                    <a:lnTo>
                      <a:pt x="141" y="28"/>
                    </a:lnTo>
                    <a:lnTo>
                      <a:pt x="134" y="18"/>
                    </a:lnTo>
                    <a:lnTo>
                      <a:pt x="123" y="11"/>
                    </a:lnTo>
                    <a:lnTo>
                      <a:pt x="112" y="5"/>
                    </a:lnTo>
                    <a:lnTo>
                      <a:pt x="100" y="0"/>
                    </a:lnTo>
                    <a:lnTo>
                      <a:pt x="87" y="0"/>
                    </a:lnTo>
                    <a:lnTo>
                      <a:pt x="8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3" name="Freeform 61">
                <a:extLst>
                  <a:ext uri="{FF2B5EF4-FFF2-40B4-BE49-F238E27FC236}">
                    <a16:creationId xmlns:a16="http://schemas.microsoft.com/office/drawing/2014/main" id="{2CC8C8EC-8602-714F-9E9D-32021913BD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8203" y="1772614"/>
                <a:ext cx="148174" cy="347059"/>
              </a:xfrm>
              <a:custGeom>
                <a:avLst/>
                <a:gdLst>
                  <a:gd name="T0" fmla="*/ 308 w 373"/>
                  <a:gd name="T1" fmla="*/ 102 h 874"/>
                  <a:gd name="T2" fmla="*/ 208 w 373"/>
                  <a:gd name="T3" fmla="*/ 102 h 874"/>
                  <a:gd name="T4" fmla="*/ 208 w 373"/>
                  <a:gd name="T5" fmla="*/ 24 h 874"/>
                  <a:gd name="T6" fmla="*/ 208 w 373"/>
                  <a:gd name="T7" fmla="*/ 24 h 874"/>
                  <a:gd name="T8" fmla="*/ 206 w 373"/>
                  <a:gd name="T9" fmla="*/ 15 h 874"/>
                  <a:gd name="T10" fmla="*/ 202 w 373"/>
                  <a:gd name="T11" fmla="*/ 7 h 874"/>
                  <a:gd name="T12" fmla="*/ 195 w 373"/>
                  <a:gd name="T13" fmla="*/ 2 h 874"/>
                  <a:gd name="T14" fmla="*/ 186 w 373"/>
                  <a:gd name="T15" fmla="*/ 0 h 874"/>
                  <a:gd name="T16" fmla="*/ 186 w 373"/>
                  <a:gd name="T17" fmla="*/ 0 h 874"/>
                  <a:gd name="T18" fmla="*/ 176 w 373"/>
                  <a:gd name="T19" fmla="*/ 2 h 874"/>
                  <a:gd name="T20" fmla="*/ 169 w 373"/>
                  <a:gd name="T21" fmla="*/ 7 h 874"/>
                  <a:gd name="T22" fmla="*/ 165 w 373"/>
                  <a:gd name="T23" fmla="*/ 15 h 874"/>
                  <a:gd name="T24" fmla="*/ 163 w 373"/>
                  <a:gd name="T25" fmla="*/ 24 h 874"/>
                  <a:gd name="T26" fmla="*/ 163 w 373"/>
                  <a:gd name="T27" fmla="*/ 102 h 874"/>
                  <a:gd name="T28" fmla="*/ 65 w 373"/>
                  <a:gd name="T29" fmla="*/ 102 h 874"/>
                  <a:gd name="T30" fmla="*/ 65 w 373"/>
                  <a:gd name="T31" fmla="*/ 102 h 874"/>
                  <a:gd name="T32" fmla="*/ 52 w 373"/>
                  <a:gd name="T33" fmla="*/ 104 h 874"/>
                  <a:gd name="T34" fmla="*/ 39 w 373"/>
                  <a:gd name="T35" fmla="*/ 107 h 874"/>
                  <a:gd name="T36" fmla="*/ 28 w 373"/>
                  <a:gd name="T37" fmla="*/ 113 h 874"/>
                  <a:gd name="T38" fmla="*/ 19 w 373"/>
                  <a:gd name="T39" fmla="*/ 120 h 874"/>
                  <a:gd name="T40" fmla="*/ 11 w 373"/>
                  <a:gd name="T41" fmla="*/ 132 h 874"/>
                  <a:gd name="T42" fmla="*/ 6 w 373"/>
                  <a:gd name="T43" fmla="*/ 143 h 874"/>
                  <a:gd name="T44" fmla="*/ 2 w 373"/>
                  <a:gd name="T45" fmla="*/ 154 h 874"/>
                  <a:gd name="T46" fmla="*/ 0 w 373"/>
                  <a:gd name="T47" fmla="*/ 167 h 874"/>
                  <a:gd name="T48" fmla="*/ 0 w 373"/>
                  <a:gd name="T49" fmla="*/ 874 h 874"/>
                  <a:gd name="T50" fmla="*/ 0 w 373"/>
                  <a:gd name="T51" fmla="*/ 874 h 874"/>
                  <a:gd name="T52" fmla="*/ 45 w 373"/>
                  <a:gd name="T53" fmla="*/ 874 h 874"/>
                  <a:gd name="T54" fmla="*/ 47 w 373"/>
                  <a:gd name="T55" fmla="*/ 874 h 874"/>
                  <a:gd name="T56" fmla="*/ 45 w 373"/>
                  <a:gd name="T57" fmla="*/ 167 h 874"/>
                  <a:gd name="T58" fmla="*/ 45 w 373"/>
                  <a:gd name="T59" fmla="*/ 167 h 874"/>
                  <a:gd name="T60" fmla="*/ 47 w 373"/>
                  <a:gd name="T61" fmla="*/ 159 h 874"/>
                  <a:gd name="T62" fmla="*/ 52 w 373"/>
                  <a:gd name="T63" fmla="*/ 154 h 874"/>
                  <a:gd name="T64" fmla="*/ 58 w 373"/>
                  <a:gd name="T65" fmla="*/ 148 h 874"/>
                  <a:gd name="T66" fmla="*/ 65 w 373"/>
                  <a:gd name="T67" fmla="*/ 148 h 874"/>
                  <a:gd name="T68" fmla="*/ 308 w 373"/>
                  <a:gd name="T69" fmla="*/ 148 h 874"/>
                  <a:gd name="T70" fmla="*/ 308 w 373"/>
                  <a:gd name="T71" fmla="*/ 148 h 874"/>
                  <a:gd name="T72" fmla="*/ 316 w 373"/>
                  <a:gd name="T73" fmla="*/ 148 h 874"/>
                  <a:gd name="T74" fmla="*/ 321 w 373"/>
                  <a:gd name="T75" fmla="*/ 154 h 874"/>
                  <a:gd name="T76" fmla="*/ 325 w 373"/>
                  <a:gd name="T77" fmla="*/ 159 h 874"/>
                  <a:gd name="T78" fmla="*/ 327 w 373"/>
                  <a:gd name="T79" fmla="*/ 167 h 874"/>
                  <a:gd name="T80" fmla="*/ 327 w 373"/>
                  <a:gd name="T81" fmla="*/ 874 h 874"/>
                  <a:gd name="T82" fmla="*/ 327 w 373"/>
                  <a:gd name="T83" fmla="*/ 874 h 874"/>
                  <a:gd name="T84" fmla="*/ 373 w 373"/>
                  <a:gd name="T85" fmla="*/ 874 h 874"/>
                  <a:gd name="T86" fmla="*/ 373 w 373"/>
                  <a:gd name="T87" fmla="*/ 874 h 874"/>
                  <a:gd name="T88" fmla="*/ 373 w 373"/>
                  <a:gd name="T89" fmla="*/ 167 h 874"/>
                  <a:gd name="T90" fmla="*/ 373 w 373"/>
                  <a:gd name="T91" fmla="*/ 167 h 874"/>
                  <a:gd name="T92" fmla="*/ 371 w 373"/>
                  <a:gd name="T93" fmla="*/ 154 h 874"/>
                  <a:gd name="T94" fmla="*/ 368 w 373"/>
                  <a:gd name="T95" fmla="*/ 143 h 874"/>
                  <a:gd name="T96" fmla="*/ 362 w 373"/>
                  <a:gd name="T97" fmla="*/ 132 h 874"/>
                  <a:gd name="T98" fmla="*/ 353 w 373"/>
                  <a:gd name="T99" fmla="*/ 120 h 874"/>
                  <a:gd name="T100" fmla="*/ 344 w 373"/>
                  <a:gd name="T101" fmla="*/ 113 h 874"/>
                  <a:gd name="T102" fmla="*/ 332 w 373"/>
                  <a:gd name="T103" fmla="*/ 107 h 874"/>
                  <a:gd name="T104" fmla="*/ 321 w 373"/>
                  <a:gd name="T105" fmla="*/ 104 h 874"/>
                  <a:gd name="T106" fmla="*/ 308 w 373"/>
                  <a:gd name="T107" fmla="*/ 102 h 874"/>
                  <a:gd name="T108" fmla="*/ 308 w 373"/>
                  <a:gd name="T109" fmla="*/ 102 h 8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73" h="874">
                    <a:moveTo>
                      <a:pt x="308" y="102"/>
                    </a:moveTo>
                    <a:lnTo>
                      <a:pt x="208" y="102"/>
                    </a:lnTo>
                    <a:lnTo>
                      <a:pt x="208" y="24"/>
                    </a:lnTo>
                    <a:lnTo>
                      <a:pt x="208" y="24"/>
                    </a:lnTo>
                    <a:lnTo>
                      <a:pt x="206" y="15"/>
                    </a:lnTo>
                    <a:lnTo>
                      <a:pt x="202" y="7"/>
                    </a:lnTo>
                    <a:lnTo>
                      <a:pt x="195" y="2"/>
                    </a:lnTo>
                    <a:lnTo>
                      <a:pt x="186" y="0"/>
                    </a:lnTo>
                    <a:lnTo>
                      <a:pt x="186" y="0"/>
                    </a:lnTo>
                    <a:lnTo>
                      <a:pt x="176" y="2"/>
                    </a:lnTo>
                    <a:lnTo>
                      <a:pt x="169" y="7"/>
                    </a:lnTo>
                    <a:lnTo>
                      <a:pt x="165" y="15"/>
                    </a:lnTo>
                    <a:lnTo>
                      <a:pt x="163" y="24"/>
                    </a:lnTo>
                    <a:lnTo>
                      <a:pt x="163" y="102"/>
                    </a:lnTo>
                    <a:lnTo>
                      <a:pt x="65" y="102"/>
                    </a:lnTo>
                    <a:lnTo>
                      <a:pt x="65" y="102"/>
                    </a:lnTo>
                    <a:lnTo>
                      <a:pt x="52" y="104"/>
                    </a:lnTo>
                    <a:lnTo>
                      <a:pt x="39" y="107"/>
                    </a:lnTo>
                    <a:lnTo>
                      <a:pt x="28" y="113"/>
                    </a:lnTo>
                    <a:lnTo>
                      <a:pt x="19" y="120"/>
                    </a:lnTo>
                    <a:lnTo>
                      <a:pt x="11" y="132"/>
                    </a:lnTo>
                    <a:lnTo>
                      <a:pt x="6" y="143"/>
                    </a:lnTo>
                    <a:lnTo>
                      <a:pt x="2" y="154"/>
                    </a:lnTo>
                    <a:lnTo>
                      <a:pt x="0" y="167"/>
                    </a:lnTo>
                    <a:lnTo>
                      <a:pt x="0" y="874"/>
                    </a:lnTo>
                    <a:lnTo>
                      <a:pt x="0" y="874"/>
                    </a:lnTo>
                    <a:lnTo>
                      <a:pt x="45" y="874"/>
                    </a:lnTo>
                    <a:lnTo>
                      <a:pt x="47" y="874"/>
                    </a:lnTo>
                    <a:lnTo>
                      <a:pt x="45" y="167"/>
                    </a:lnTo>
                    <a:lnTo>
                      <a:pt x="45" y="167"/>
                    </a:lnTo>
                    <a:lnTo>
                      <a:pt x="47" y="159"/>
                    </a:lnTo>
                    <a:lnTo>
                      <a:pt x="52" y="154"/>
                    </a:lnTo>
                    <a:lnTo>
                      <a:pt x="58" y="148"/>
                    </a:lnTo>
                    <a:lnTo>
                      <a:pt x="65" y="148"/>
                    </a:lnTo>
                    <a:lnTo>
                      <a:pt x="308" y="148"/>
                    </a:lnTo>
                    <a:lnTo>
                      <a:pt x="308" y="148"/>
                    </a:lnTo>
                    <a:lnTo>
                      <a:pt x="316" y="148"/>
                    </a:lnTo>
                    <a:lnTo>
                      <a:pt x="321" y="154"/>
                    </a:lnTo>
                    <a:lnTo>
                      <a:pt x="325" y="159"/>
                    </a:lnTo>
                    <a:lnTo>
                      <a:pt x="327" y="167"/>
                    </a:lnTo>
                    <a:lnTo>
                      <a:pt x="327" y="874"/>
                    </a:lnTo>
                    <a:lnTo>
                      <a:pt x="327" y="874"/>
                    </a:lnTo>
                    <a:lnTo>
                      <a:pt x="373" y="874"/>
                    </a:lnTo>
                    <a:lnTo>
                      <a:pt x="373" y="874"/>
                    </a:lnTo>
                    <a:lnTo>
                      <a:pt x="373" y="167"/>
                    </a:lnTo>
                    <a:lnTo>
                      <a:pt x="373" y="167"/>
                    </a:lnTo>
                    <a:lnTo>
                      <a:pt x="371" y="154"/>
                    </a:lnTo>
                    <a:lnTo>
                      <a:pt x="368" y="143"/>
                    </a:lnTo>
                    <a:lnTo>
                      <a:pt x="362" y="132"/>
                    </a:lnTo>
                    <a:lnTo>
                      <a:pt x="353" y="120"/>
                    </a:lnTo>
                    <a:lnTo>
                      <a:pt x="344" y="113"/>
                    </a:lnTo>
                    <a:lnTo>
                      <a:pt x="332" y="107"/>
                    </a:lnTo>
                    <a:lnTo>
                      <a:pt x="321" y="104"/>
                    </a:lnTo>
                    <a:lnTo>
                      <a:pt x="308" y="102"/>
                    </a:lnTo>
                    <a:lnTo>
                      <a:pt x="308" y="1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91" name="Rechteck 14">
            <a:extLst>
              <a:ext uri="{FF2B5EF4-FFF2-40B4-BE49-F238E27FC236}">
                <a16:creationId xmlns:a16="http://schemas.microsoft.com/office/drawing/2014/main" id="{5739159E-D8EE-CC4C-9B02-C46C82316DC8}"/>
              </a:ext>
            </a:extLst>
          </p:cNvPr>
          <p:cNvSpPr/>
          <p:nvPr/>
        </p:nvSpPr>
        <p:spPr bwMode="gray">
          <a:xfrm>
            <a:off x="5977062" y="2553472"/>
            <a:ext cx="2201275" cy="792088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buClr>
                <a:srgbClr val="9B9B9B"/>
              </a:buClr>
            </a:pPr>
            <a:r>
              <a:rPr lang="en-US" sz="2000" b="1" kern="0" dirty="0">
                <a:solidFill>
                  <a:schemeClr val="accent1"/>
                </a:solidFill>
                <a:latin typeface="+mn-lt"/>
              </a:rPr>
              <a:t>8 million </a:t>
            </a:r>
          </a:p>
          <a:p>
            <a:pPr lvl="0" algn="l">
              <a:buClr>
                <a:srgbClr val="9B9B9B"/>
              </a:buClr>
            </a:pPr>
            <a:r>
              <a:rPr lang="en-US" sz="1800" b="1" kern="0" dirty="0">
                <a:solidFill>
                  <a:schemeClr val="bg1"/>
                </a:solidFill>
                <a:latin typeface="+mn-lt"/>
              </a:rPr>
              <a:t>price updates / hour</a:t>
            </a:r>
            <a:endParaRPr lang="de-DE" sz="1800" kern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2" name="Rechteck 14">
            <a:extLst>
              <a:ext uri="{FF2B5EF4-FFF2-40B4-BE49-F238E27FC236}">
                <a16:creationId xmlns:a16="http://schemas.microsoft.com/office/drawing/2014/main" id="{C9C6EFFF-B224-CD47-9330-DDF60AACF099}"/>
              </a:ext>
            </a:extLst>
          </p:cNvPr>
          <p:cNvSpPr/>
          <p:nvPr/>
        </p:nvSpPr>
        <p:spPr bwMode="gray">
          <a:xfrm>
            <a:off x="8398467" y="1658877"/>
            <a:ext cx="2413468" cy="792088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buClr>
                <a:srgbClr val="9B9B9B"/>
              </a:buClr>
            </a:pPr>
            <a:r>
              <a:rPr lang="en-US" sz="2000" b="1" kern="0" dirty="0">
                <a:solidFill>
                  <a:schemeClr val="accent1"/>
                </a:solidFill>
                <a:latin typeface="+mn-lt"/>
              </a:rPr>
              <a:t>400 million </a:t>
            </a:r>
          </a:p>
          <a:p>
            <a:pPr lvl="0" algn="l">
              <a:buClr>
                <a:srgbClr val="9B9B9B"/>
              </a:buClr>
            </a:pPr>
            <a:r>
              <a:rPr lang="en-US" sz="1800" b="1" kern="0" dirty="0">
                <a:solidFill>
                  <a:schemeClr val="bg1"/>
                </a:solidFill>
                <a:latin typeface="+mn-lt"/>
              </a:rPr>
              <a:t>Product combination</a:t>
            </a:r>
            <a:endParaRPr lang="de-DE" sz="1800" kern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3" name="Rechteck 14">
            <a:extLst>
              <a:ext uri="{FF2B5EF4-FFF2-40B4-BE49-F238E27FC236}">
                <a16:creationId xmlns:a16="http://schemas.microsoft.com/office/drawing/2014/main" id="{53711502-5FC4-7843-B7A3-195A4ABB1666}"/>
              </a:ext>
            </a:extLst>
          </p:cNvPr>
          <p:cNvSpPr/>
          <p:nvPr/>
        </p:nvSpPr>
        <p:spPr bwMode="gray">
          <a:xfrm>
            <a:off x="8433764" y="2549425"/>
            <a:ext cx="2413468" cy="792088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buClr>
                <a:srgbClr val="9B9B9B"/>
              </a:buClr>
            </a:pPr>
            <a:r>
              <a:rPr lang="en-US" sz="2000" b="1" kern="0" dirty="0">
                <a:solidFill>
                  <a:schemeClr val="accent1"/>
                </a:solidFill>
                <a:latin typeface="+mn-lt"/>
              </a:rPr>
              <a:t>58 billion</a:t>
            </a:r>
          </a:p>
          <a:p>
            <a:pPr lvl="0" algn="l">
              <a:buClr>
                <a:srgbClr val="9B9B9B"/>
              </a:buClr>
            </a:pPr>
            <a:r>
              <a:rPr lang="en-US" sz="1800" b="1" kern="0" dirty="0">
                <a:solidFill>
                  <a:schemeClr val="bg1"/>
                </a:solidFill>
                <a:latin typeface="+mn-lt"/>
              </a:rPr>
              <a:t>Searches / peak period</a:t>
            </a:r>
            <a:endParaRPr lang="de-DE" sz="1800" kern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B29658A-0638-4041-BE0F-A64C2616CB18}"/>
              </a:ext>
            </a:extLst>
          </p:cNvPr>
          <p:cNvSpPr txBox="1"/>
          <p:nvPr/>
        </p:nvSpPr>
        <p:spPr>
          <a:xfrm>
            <a:off x="8641357" y="5112022"/>
            <a:ext cx="2508984" cy="3600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accent1"/>
                </a:solidFill>
              </a:rPr>
              <a:t>*Pre COVID numbers</a:t>
            </a:r>
          </a:p>
        </p:txBody>
      </p:sp>
    </p:spTree>
    <p:extLst>
      <p:ext uri="{BB962C8B-B14F-4D97-AF65-F5344CB8AC3E}">
        <p14:creationId xmlns:p14="http://schemas.microsoft.com/office/powerpoint/2010/main" val="3211425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77">
            <a:extLst>
              <a:ext uri="{FF2B5EF4-FFF2-40B4-BE49-F238E27FC236}">
                <a16:creationId xmlns:a16="http://schemas.microsoft.com/office/drawing/2014/main" id="{8C7F2384-2CBB-D04E-9313-3A7A8268B8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457" y="-11878"/>
            <a:ext cx="11552988" cy="65039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5F796F1-6CB0-D04A-BDE7-4740C46C35F0}"/>
              </a:ext>
            </a:extLst>
          </p:cNvPr>
          <p:cNvSpPr/>
          <p:nvPr/>
        </p:nvSpPr>
        <p:spPr bwMode="gray">
          <a:xfrm>
            <a:off x="360437" y="4417125"/>
            <a:ext cx="2232248" cy="1721368"/>
          </a:xfrm>
          <a:prstGeom prst="rect">
            <a:avLst/>
          </a:prstGeom>
          <a:solidFill>
            <a:schemeClr val="bg1">
              <a:alpha val="77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800" tIns="46800" rIns="828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tabLst/>
            </a:pPr>
            <a:endParaRPr kumimoji="0" lang="en-US" sz="1800" b="0" i="0" u="none" strike="noStrike" cap="none" normalizeH="0" baseline="0" dirty="0" err="1">
              <a:ln>
                <a:noFill/>
              </a:ln>
              <a:effectLst/>
              <a:latin typeface="TUIType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4BD7F15-CB2E-A244-91D5-5D90CEB60BEE}"/>
              </a:ext>
            </a:extLst>
          </p:cNvPr>
          <p:cNvSpPr/>
          <p:nvPr/>
        </p:nvSpPr>
        <p:spPr bwMode="gray">
          <a:xfrm>
            <a:off x="3333716" y="2650804"/>
            <a:ext cx="2329295" cy="2538231"/>
          </a:xfrm>
          <a:prstGeom prst="rect">
            <a:avLst/>
          </a:prstGeom>
          <a:solidFill>
            <a:schemeClr val="bg1">
              <a:alpha val="77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800" tIns="46800" rIns="828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tabLst/>
            </a:pPr>
            <a:endParaRPr kumimoji="0" lang="en-US" sz="1800" b="0" i="0" u="none" strike="noStrike" cap="none" normalizeH="0" baseline="0" dirty="0" err="1">
              <a:ln>
                <a:noFill/>
              </a:ln>
              <a:effectLst/>
              <a:latin typeface="TUIType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383FB06-EE23-6144-B8EB-A8577525B010}"/>
              </a:ext>
            </a:extLst>
          </p:cNvPr>
          <p:cNvSpPr/>
          <p:nvPr/>
        </p:nvSpPr>
        <p:spPr bwMode="gray">
          <a:xfrm>
            <a:off x="6076949" y="3870929"/>
            <a:ext cx="2232248" cy="1770332"/>
          </a:xfrm>
          <a:prstGeom prst="rect">
            <a:avLst/>
          </a:prstGeom>
          <a:solidFill>
            <a:schemeClr val="bg1">
              <a:alpha val="77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800" tIns="46800" rIns="828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tabLst/>
            </a:pPr>
            <a:endParaRPr kumimoji="0" lang="en-US" sz="1800" b="0" i="0" u="none" strike="noStrike" cap="none" normalizeH="0" baseline="0" dirty="0" err="1">
              <a:ln>
                <a:noFill/>
              </a:ln>
              <a:effectLst/>
              <a:latin typeface="TUIType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A48FC01-7BB8-704C-AC9F-98517AD9F58F}"/>
              </a:ext>
            </a:extLst>
          </p:cNvPr>
          <p:cNvSpPr/>
          <p:nvPr/>
        </p:nvSpPr>
        <p:spPr bwMode="gray">
          <a:xfrm>
            <a:off x="8577473" y="2765455"/>
            <a:ext cx="2710608" cy="2096195"/>
          </a:xfrm>
          <a:prstGeom prst="rect">
            <a:avLst/>
          </a:prstGeom>
          <a:solidFill>
            <a:schemeClr val="bg1">
              <a:alpha val="77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800" tIns="46800" rIns="828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tabLst/>
            </a:pPr>
            <a:endParaRPr kumimoji="0" lang="en-US" sz="1800" b="0" i="0" u="none" strike="noStrike" cap="none" normalizeH="0" baseline="0" dirty="0" err="1">
              <a:ln>
                <a:noFill/>
              </a:ln>
              <a:effectLst/>
              <a:latin typeface="TUIType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92926BB-C564-9E48-86A9-D0A10A971894}"/>
              </a:ext>
            </a:extLst>
          </p:cNvPr>
          <p:cNvGrpSpPr/>
          <p:nvPr/>
        </p:nvGrpSpPr>
        <p:grpSpPr>
          <a:xfrm>
            <a:off x="380209" y="874520"/>
            <a:ext cx="10862720" cy="5395355"/>
            <a:chOff x="380209" y="874520"/>
            <a:chExt cx="10862720" cy="5395355"/>
          </a:xfrm>
        </p:grpSpPr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486219" y="1529166"/>
              <a:ext cx="9720263" cy="3102085"/>
            </a:xfrm>
            <a:custGeom>
              <a:avLst/>
              <a:gdLst>
                <a:gd name="T0" fmla="*/ 0 w 1728"/>
                <a:gd name="T1" fmla="*/ 362 h 549"/>
                <a:gd name="T2" fmla="*/ 440 w 1728"/>
                <a:gd name="T3" fmla="*/ 278 h 549"/>
                <a:gd name="T4" fmla="*/ 1030 w 1728"/>
                <a:gd name="T5" fmla="*/ 304 h 549"/>
                <a:gd name="T6" fmla="*/ 1728 w 1728"/>
                <a:gd name="T7" fmla="*/ 0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28" h="549">
                  <a:moveTo>
                    <a:pt x="0" y="362"/>
                  </a:moveTo>
                  <a:cubicBezTo>
                    <a:pt x="141" y="547"/>
                    <a:pt x="247" y="532"/>
                    <a:pt x="440" y="278"/>
                  </a:cubicBezTo>
                  <a:cubicBezTo>
                    <a:pt x="624" y="29"/>
                    <a:pt x="774" y="24"/>
                    <a:pt x="1030" y="304"/>
                  </a:cubicBezTo>
                  <a:cubicBezTo>
                    <a:pt x="1210" y="549"/>
                    <a:pt x="1490" y="219"/>
                    <a:pt x="1728" y="0"/>
                  </a:cubicBezTo>
                </a:path>
              </a:pathLst>
            </a:custGeom>
            <a:noFill/>
            <a:ln w="25400" cap="flat">
              <a:solidFill>
                <a:schemeClr val="tx1"/>
              </a:solidFill>
              <a:prstDash val="sysDash"/>
              <a:miter lim="800000"/>
              <a:headEnd/>
              <a:tailEnd/>
            </a:ln>
          </p:spPr>
          <p:txBody>
            <a:bodyPr vert="horz" wrap="square" lIns="86402" tIns="43201" rIns="86402" bIns="43201" numCol="1" anchor="t" anchorCtr="0" compatLnSpc="1">
              <a:prstTxWarp prst="textNoShape">
                <a:avLst/>
              </a:prstTxWarp>
            </a:bodyPr>
            <a:lstStyle/>
            <a:p>
              <a:endParaRPr lang="en-US" sz="1277" dirty="0">
                <a:latin typeface="+mj-lt"/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4301826" y="1961214"/>
              <a:ext cx="271785" cy="27178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77">
                <a:latin typeface="+mj-lt"/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7038130" y="3617398"/>
              <a:ext cx="271785" cy="27178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77">
                <a:latin typeface="+mj-lt"/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1349498" y="4121454"/>
              <a:ext cx="271785" cy="27178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77">
                <a:latin typeface="+mj-lt"/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9054354" y="2321254"/>
              <a:ext cx="271785" cy="27178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77">
                <a:latin typeface="+mj-lt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8582830" y="2852737"/>
              <a:ext cx="2660099" cy="1754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en-US" sz="1800" b="1" dirty="0">
                  <a:latin typeface="+mj-lt"/>
                  <a:ea typeface="Open Sans Extrabold" pitchFamily="34" charset="0"/>
                  <a:cs typeface="Open Sans Extrabold" pitchFamily="34" charset="0"/>
                </a:rPr>
                <a:t>Global Transformation</a:t>
              </a:r>
            </a:p>
            <a:p>
              <a:pPr algn="ctr">
                <a:lnSpc>
                  <a:spcPct val="100000"/>
                </a:lnSpc>
              </a:pPr>
              <a:endParaRPr lang="en-US" sz="1800" b="1" dirty="0">
                <a:latin typeface="+mj-lt"/>
                <a:ea typeface="Open Sans Extrabold" pitchFamily="34" charset="0"/>
                <a:cs typeface="Open Sans Extrabold" pitchFamily="34" charset="0"/>
              </a:endParaRPr>
            </a:p>
            <a:p>
              <a:pPr marL="285750" indent="-285750" algn="l">
                <a:lnSpc>
                  <a:spcPct val="100000"/>
                </a:lnSpc>
                <a:buFont typeface="Arial" panose="020B0604020202020204" pitchFamily="34" charset="0"/>
                <a:buChar char="•"/>
              </a:pPr>
              <a:r>
                <a:rPr lang="en-US" sz="1800" dirty="0">
                  <a:latin typeface="+mj-lt"/>
                  <a:ea typeface="Open Sans Extrabold" pitchFamily="34" charset="0"/>
                  <a:cs typeface="Open Sans Extrabold" pitchFamily="34" charset="0"/>
                </a:rPr>
                <a:t>Consolidate NOW !</a:t>
              </a:r>
            </a:p>
            <a:p>
              <a:pPr marL="285750" indent="-285750" algn="l">
                <a:lnSpc>
                  <a:spcPct val="100000"/>
                </a:lnSpc>
                <a:buFont typeface="Arial" panose="020B0604020202020204" pitchFamily="34" charset="0"/>
                <a:buChar char="•"/>
              </a:pPr>
              <a:r>
                <a:rPr lang="en-US" sz="1800" dirty="0">
                  <a:latin typeface="+mj-lt"/>
                  <a:ea typeface="Open Sans Extrabold" pitchFamily="34" charset="0"/>
                  <a:cs typeface="Open Sans Extrabold" pitchFamily="34" charset="0"/>
                </a:rPr>
                <a:t>Project to Product</a:t>
              </a:r>
            </a:p>
            <a:p>
              <a:pPr marL="285750" indent="-285750" algn="l">
                <a:lnSpc>
                  <a:spcPct val="100000"/>
                </a:lnSpc>
                <a:buFont typeface="Arial" panose="020B0604020202020204" pitchFamily="34" charset="0"/>
                <a:buChar char="•"/>
              </a:pPr>
              <a:r>
                <a:rPr lang="en-US" sz="1800" dirty="0">
                  <a:latin typeface="+mj-lt"/>
                  <a:ea typeface="Open Sans Extrabold" pitchFamily="34" charset="0"/>
                  <a:cs typeface="Open Sans Extrabold" pitchFamily="34" charset="0"/>
                </a:rPr>
                <a:t>1 Platform</a:t>
              </a:r>
            </a:p>
            <a:p>
              <a:pPr marL="285750" indent="-285750" algn="l">
                <a:lnSpc>
                  <a:spcPct val="100000"/>
                </a:lnSpc>
                <a:buFont typeface="Arial" panose="020B0604020202020204" pitchFamily="34" charset="0"/>
                <a:buChar char="•"/>
              </a:pPr>
              <a:r>
                <a:rPr lang="en-US" sz="1800" dirty="0" err="1">
                  <a:latin typeface="+mj-lt"/>
                  <a:ea typeface="Open Sans Extrabold" pitchFamily="34" charset="0"/>
                  <a:cs typeface="Open Sans Extrabold" pitchFamily="34" charset="0"/>
                </a:rPr>
                <a:t>Digitalise</a:t>
              </a:r>
              <a:r>
                <a:rPr lang="en-US" sz="1800" dirty="0">
                  <a:latin typeface="+mj-lt"/>
                  <a:ea typeface="Open Sans Extrabold" pitchFamily="34" charset="0"/>
                  <a:cs typeface="Open Sans Extrabold" pitchFamily="34" charset="0"/>
                </a:rPr>
                <a:t> processes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380209" y="4515549"/>
              <a:ext cx="2232249" cy="1754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en-US" sz="1800" b="1" dirty="0">
                  <a:latin typeface="+mj-lt"/>
                  <a:ea typeface="Open Sans Extrabold" pitchFamily="34" charset="0"/>
                  <a:cs typeface="Open Sans Extrabold" pitchFamily="34" charset="0"/>
                </a:rPr>
                <a:t>Traditional Cloud Migration Approach</a:t>
              </a:r>
            </a:p>
            <a:p>
              <a:pPr marL="285750" indent="-285750" algn="l">
                <a:lnSpc>
                  <a:spcPct val="100000"/>
                </a:lnSpc>
                <a:buFont typeface="Arial" panose="020B0604020202020204" pitchFamily="34" charset="0"/>
                <a:buChar char="•"/>
              </a:pPr>
              <a:r>
                <a:rPr lang="en-US" sz="1800" dirty="0">
                  <a:latin typeface="+mj-lt"/>
                  <a:ea typeface="Open Sans Extrabold" pitchFamily="34" charset="0"/>
                  <a:cs typeface="Open Sans Extrabold" pitchFamily="34" charset="0"/>
                </a:rPr>
                <a:t>Small Workloads</a:t>
              </a:r>
            </a:p>
            <a:p>
              <a:pPr marL="285750" indent="-285750" algn="l">
                <a:lnSpc>
                  <a:spcPct val="100000"/>
                </a:lnSpc>
                <a:buFont typeface="Arial" panose="020B0604020202020204" pitchFamily="34" charset="0"/>
                <a:buChar char="•"/>
              </a:pPr>
              <a:r>
                <a:rPr lang="en-US" sz="1800" dirty="0">
                  <a:latin typeface="+mj-lt"/>
                  <a:ea typeface="Open Sans Extrabold" pitchFamily="34" charset="0"/>
                  <a:cs typeface="Open Sans Extrabold" pitchFamily="34" charset="0"/>
                </a:rPr>
                <a:t>Focus on Data center migration</a:t>
              </a:r>
            </a:p>
            <a:p>
              <a:pPr algn="ctr">
                <a:lnSpc>
                  <a:spcPct val="100000"/>
                </a:lnSpc>
              </a:pPr>
              <a:endParaRPr lang="en-US" sz="1800" b="1" dirty="0">
                <a:latin typeface="+mj-lt"/>
                <a:ea typeface="Open Sans Extrabold" pitchFamily="34" charset="0"/>
                <a:cs typeface="Open Sans Extrabold" pitchFamily="34" charset="0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6076949" y="3921376"/>
              <a:ext cx="2214170" cy="8803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800" b="1" dirty="0">
                  <a:latin typeface="+mj-lt"/>
                  <a:ea typeface="Open Sans Extrabold" pitchFamily="34" charset="0"/>
                  <a:cs typeface="Open Sans Extrabold" pitchFamily="34" charset="0"/>
                </a:rPr>
                <a:t>COVID – Heart Attack </a:t>
              </a:r>
            </a:p>
            <a:p>
              <a:pPr algn="ctr">
                <a:lnSpc>
                  <a:spcPct val="150000"/>
                </a:lnSpc>
              </a:pPr>
              <a:r>
                <a:rPr lang="en-US" sz="1800" dirty="0">
                  <a:latin typeface="+mj-lt"/>
                  <a:ea typeface="Open Sans Extrabold" pitchFamily="34" charset="0"/>
                  <a:cs typeface="Open Sans Extrabold" pitchFamily="34" charset="0"/>
                </a:rPr>
                <a:t>Revenue grind to halt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3293517" y="2317303"/>
              <a:ext cx="2399694" cy="31762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endParaRPr lang="en-US" sz="1800" b="1" dirty="0">
                <a:latin typeface="+mj-lt"/>
                <a:ea typeface="Open Sans Extrabold" pitchFamily="34" charset="0"/>
                <a:cs typeface="Open Sans Extrabold" pitchFamily="34" charset="0"/>
              </a:endParaRPr>
            </a:p>
            <a:p>
              <a:pPr algn="ctr">
                <a:lnSpc>
                  <a:spcPct val="100000"/>
                </a:lnSpc>
              </a:pPr>
              <a:r>
                <a:rPr lang="en-US" sz="1800" b="1" dirty="0">
                  <a:latin typeface="+mj-lt"/>
                  <a:ea typeface="Open Sans Extrabold" pitchFamily="34" charset="0"/>
                  <a:cs typeface="Open Sans Extrabold" pitchFamily="34" charset="0"/>
                </a:rPr>
                <a:t>Localized Agile</a:t>
              </a:r>
            </a:p>
            <a:p>
              <a:pPr algn="ctr">
                <a:lnSpc>
                  <a:spcPct val="100000"/>
                </a:lnSpc>
              </a:pPr>
              <a:endParaRPr lang="en-US" sz="1800" b="1" dirty="0">
                <a:latin typeface="+mj-lt"/>
                <a:ea typeface="Open Sans Extrabold" pitchFamily="34" charset="0"/>
                <a:cs typeface="Open Sans Extrabold" pitchFamily="34" charset="0"/>
              </a:endParaRPr>
            </a:p>
            <a:p>
              <a:pPr marL="285750" indent="-285750" algn="l">
                <a:lnSpc>
                  <a:spcPct val="100000"/>
                </a:lnSpc>
                <a:buFont typeface="Arial" panose="020B0604020202020204" pitchFamily="34" charset="0"/>
                <a:buChar char="•"/>
              </a:pPr>
              <a:r>
                <a:rPr lang="en-US" sz="1800" dirty="0">
                  <a:latin typeface="+mj-lt"/>
                  <a:ea typeface="Open Sans Extrabold" pitchFamily="34" charset="0"/>
                  <a:cs typeface="Open Sans Extrabold" pitchFamily="34" charset="0"/>
                </a:rPr>
                <a:t>Local agile teams</a:t>
              </a:r>
            </a:p>
            <a:p>
              <a:pPr marL="285750" indent="-285750" algn="l">
                <a:lnSpc>
                  <a:spcPct val="100000"/>
                </a:lnSpc>
                <a:buFont typeface="Arial" panose="020B0604020202020204" pitchFamily="34" charset="0"/>
                <a:buChar char="•"/>
              </a:pPr>
              <a:r>
                <a:rPr lang="en-US" sz="1800" dirty="0">
                  <a:latin typeface="+mj-lt"/>
                  <a:ea typeface="Open Sans Extrabold" pitchFamily="34" charset="0"/>
                  <a:cs typeface="Open Sans Extrabold" pitchFamily="34" charset="0"/>
                </a:rPr>
                <a:t>Global Programs / Projects</a:t>
              </a:r>
            </a:p>
            <a:p>
              <a:pPr marL="285750" indent="-285750" algn="l">
                <a:lnSpc>
                  <a:spcPct val="100000"/>
                </a:lnSpc>
                <a:buFont typeface="Arial" panose="020B0604020202020204" pitchFamily="34" charset="0"/>
                <a:buChar char="•"/>
              </a:pPr>
              <a:r>
                <a:rPr lang="en-US" sz="1800" dirty="0">
                  <a:latin typeface="+mj-lt"/>
                  <a:ea typeface="Open Sans Extrabold" pitchFamily="34" charset="0"/>
                  <a:cs typeface="Open Sans Extrabold" pitchFamily="34" charset="0"/>
                </a:rPr>
                <a:t>Focus on Risk Management</a:t>
              </a:r>
            </a:p>
            <a:p>
              <a:pPr marL="285750" indent="-285750" algn="l">
                <a:lnSpc>
                  <a:spcPct val="100000"/>
                </a:lnSpc>
                <a:buFont typeface="Arial" panose="020B0604020202020204" pitchFamily="34" charset="0"/>
                <a:buChar char="•"/>
              </a:pPr>
              <a:endParaRPr lang="en-US" sz="1800" dirty="0">
                <a:latin typeface="+mj-lt"/>
                <a:ea typeface="Open Sans Extrabold" pitchFamily="34" charset="0"/>
                <a:cs typeface="Open Sans Extrabold" pitchFamily="34" charset="0"/>
              </a:endParaRPr>
            </a:p>
            <a:p>
              <a:pPr marL="285750" indent="-285750" algn="l">
                <a:lnSpc>
                  <a:spcPct val="100000"/>
                </a:lnSpc>
                <a:buFont typeface="Arial" panose="020B0604020202020204" pitchFamily="34" charset="0"/>
                <a:buChar char="•"/>
              </a:pPr>
              <a:endParaRPr lang="en-US" sz="1800" dirty="0">
                <a:latin typeface="+mj-lt"/>
                <a:ea typeface="Open Sans Extrabold" pitchFamily="34" charset="0"/>
                <a:cs typeface="Open Sans Extrabold" pitchFamily="34" charset="0"/>
              </a:endParaRPr>
            </a:p>
            <a:p>
              <a:pPr algn="ctr"/>
              <a:endParaRPr lang="en-US" sz="1200" dirty="0">
                <a:latin typeface="TUITypeLight" panose="020B0304020202090203" pitchFamily="34" charset="0"/>
                <a:ea typeface="Open Sans" pitchFamily="34" charset="0"/>
                <a:cs typeface="Open Sans" pitchFamily="34" charset="0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391DDE7B-15FE-7440-9003-9CB8CDD840C5}"/>
                </a:ext>
              </a:extLst>
            </p:cNvPr>
            <p:cNvGrpSpPr/>
            <p:nvPr/>
          </p:nvGrpSpPr>
          <p:grpSpPr>
            <a:xfrm>
              <a:off x="995295" y="3220328"/>
              <a:ext cx="936104" cy="648072"/>
              <a:chOff x="939158" y="3294409"/>
              <a:chExt cx="408408" cy="289873"/>
            </a:xfrm>
            <a:solidFill>
              <a:schemeClr val="tx1"/>
            </a:solidFill>
          </p:grpSpPr>
          <p:sp>
            <p:nvSpPr>
              <p:cNvPr id="33" name="Freeform 189">
                <a:extLst>
                  <a:ext uri="{FF2B5EF4-FFF2-40B4-BE49-F238E27FC236}">
                    <a16:creationId xmlns:a16="http://schemas.microsoft.com/office/drawing/2014/main" id="{5C49278D-E2B0-2646-B2A1-8EA28117B2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9158" y="3294409"/>
                <a:ext cx="408408" cy="289873"/>
              </a:xfrm>
              <a:custGeom>
                <a:avLst/>
                <a:gdLst>
                  <a:gd name="T0" fmla="*/ 557 w 759"/>
                  <a:gd name="T1" fmla="*/ 139 h 538"/>
                  <a:gd name="T2" fmla="*/ 517 w 759"/>
                  <a:gd name="T3" fmla="*/ 63 h 538"/>
                  <a:gd name="T4" fmla="*/ 448 w 759"/>
                  <a:gd name="T5" fmla="*/ 13 h 538"/>
                  <a:gd name="T6" fmla="*/ 380 w 759"/>
                  <a:gd name="T7" fmla="*/ 0 h 538"/>
                  <a:gd name="T8" fmla="*/ 305 w 759"/>
                  <a:gd name="T9" fmla="*/ 17 h 538"/>
                  <a:gd name="T10" fmla="*/ 246 w 759"/>
                  <a:gd name="T11" fmla="*/ 60 h 538"/>
                  <a:gd name="T12" fmla="*/ 208 w 759"/>
                  <a:gd name="T13" fmla="*/ 124 h 538"/>
                  <a:gd name="T14" fmla="*/ 223 w 759"/>
                  <a:gd name="T15" fmla="*/ 140 h 538"/>
                  <a:gd name="T16" fmla="*/ 278 w 759"/>
                  <a:gd name="T17" fmla="*/ 89 h 538"/>
                  <a:gd name="T18" fmla="*/ 368 w 759"/>
                  <a:gd name="T19" fmla="*/ 43 h 538"/>
                  <a:gd name="T20" fmla="*/ 422 w 759"/>
                  <a:gd name="T21" fmla="*/ 50 h 538"/>
                  <a:gd name="T22" fmla="*/ 478 w 759"/>
                  <a:gd name="T23" fmla="*/ 84 h 538"/>
                  <a:gd name="T24" fmla="*/ 514 w 759"/>
                  <a:gd name="T25" fmla="*/ 142 h 538"/>
                  <a:gd name="T26" fmla="*/ 519 w 759"/>
                  <a:gd name="T27" fmla="*/ 196 h 538"/>
                  <a:gd name="T28" fmla="*/ 580 w 759"/>
                  <a:gd name="T29" fmla="*/ 217 h 538"/>
                  <a:gd name="T30" fmla="*/ 634 w 759"/>
                  <a:gd name="T31" fmla="*/ 227 h 538"/>
                  <a:gd name="T32" fmla="*/ 686 w 759"/>
                  <a:gd name="T33" fmla="*/ 266 h 538"/>
                  <a:gd name="T34" fmla="*/ 714 w 759"/>
                  <a:gd name="T35" fmla="*/ 326 h 538"/>
                  <a:gd name="T36" fmla="*/ 716 w 759"/>
                  <a:gd name="T37" fmla="*/ 373 h 538"/>
                  <a:gd name="T38" fmla="*/ 694 w 759"/>
                  <a:gd name="T39" fmla="*/ 435 h 538"/>
                  <a:gd name="T40" fmla="*/ 646 w 759"/>
                  <a:gd name="T41" fmla="*/ 478 h 538"/>
                  <a:gd name="T42" fmla="*/ 580 w 759"/>
                  <a:gd name="T43" fmla="*/ 495 h 538"/>
                  <a:gd name="T44" fmla="*/ 151 w 759"/>
                  <a:gd name="T45" fmla="*/ 493 h 538"/>
                  <a:gd name="T46" fmla="*/ 92 w 759"/>
                  <a:gd name="T47" fmla="*/ 465 h 538"/>
                  <a:gd name="T48" fmla="*/ 54 w 759"/>
                  <a:gd name="T49" fmla="*/ 411 h 538"/>
                  <a:gd name="T50" fmla="*/ 42 w 759"/>
                  <a:gd name="T51" fmla="*/ 353 h 538"/>
                  <a:gd name="T52" fmla="*/ 50 w 759"/>
                  <a:gd name="T53" fmla="*/ 304 h 538"/>
                  <a:gd name="T54" fmla="*/ 92 w 759"/>
                  <a:gd name="T55" fmla="*/ 247 h 538"/>
                  <a:gd name="T56" fmla="*/ 144 w 759"/>
                  <a:gd name="T57" fmla="*/ 221 h 538"/>
                  <a:gd name="T58" fmla="*/ 167 w 759"/>
                  <a:gd name="T59" fmla="*/ 217 h 538"/>
                  <a:gd name="T60" fmla="*/ 198 w 759"/>
                  <a:gd name="T61" fmla="*/ 217 h 538"/>
                  <a:gd name="T62" fmla="*/ 258 w 759"/>
                  <a:gd name="T63" fmla="*/ 239 h 538"/>
                  <a:gd name="T64" fmla="*/ 293 w 759"/>
                  <a:gd name="T65" fmla="*/ 261 h 538"/>
                  <a:gd name="T66" fmla="*/ 311 w 759"/>
                  <a:gd name="T67" fmla="*/ 247 h 538"/>
                  <a:gd name="T68" fmla="*/ 293 w 759"/>
                  <a:gd name="T69" fmla="*/ 212 h 538"/>
                  <a:gd name="T70" fmla="*/ 216 w 759"/>
                  <a:gd name="T71" fmla="*/ 177 h 538"/>
                  <a:gd name="T72" fmla="*/ 154 w 759"/>
                  <a:gd name="T73" fmla="*/ 175 h 538"/>
                  <a:gd name="T74" fmla="*/ 104 w 759"/>
                  <a:gd name="T75" fmla="*/ 191 h 538"/>
                  <a:gd name="T76" fmla="*/ 42 w 759"/>
                  <a:gd name="T77" fmla="*/ 237 h 538"/>
                  <a:gd name="T78" fmla="*/ 5 w 759"/>
                  <a:gd name="T79" fmla="*/ 306 h 538"/>
                  <a:gd name="T80" fmla="*/ 0 w 759"/>
                  <a:gd name="T81" fmla="*/ 359 h 538"/>
                  <a:gd name="T82" fmla="*/ 20 w 759"/>
                  <a:gd name="T83" fmla="*/ 443 h 538"/>
                  <a:gd name="T84" fmla="*/ 76 w 759"/>
                  <a:gd name="T85" fmla="*/ 505 h 538"/>
                  <a:gd name="T86" fmla="*/ 156 w 759"/>
                  <a:gd name="T87" fmla="*/ 537 h 538"/>
                  <a:gd name="T88" fmla="*/ 580 w 759"/>
                  <a:gd name="T89" fmla="*/ 538 h 538"/>
                  <a:gd name="T90" fmla="*/ 666 w 759"/>
                  <a:gd name="T91" fmla="*/ 517 h 538"/>
                  <a:gd name="T92" fmla="*/ 729 w 759"/>
                  <a:gd name="T93" fmla="*/ 460 h 538"/>
                  <a:gd name="T94" fmla="*/ 759 w 759"/>
                  <a:gd name="T95" fmla="*/ 378 h 538"/>
                  <a:gd name="T96" fmla="*/ 756 w 759"/>
                  <a:gd name="T97" fmla="*/ 318 h 538"/>
                  <a:gd name="T98" fmla="*/ 719 w 759"/>
                  <a:gd name="T99" fmla="*/ 239 h 538"/>
                  <a:gd name="T100" fmla="*/ 651 w 759"/>
                  <a:gd name="T101" fmla="*/ 187 h 538"/>
                  <a:gd name="T102" fmla="*/ 580 w 759"/>
                  <a:gd name="T103" fmla="*/ 174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59" h="538">
                    <a:moveTo>
                      <a:pt x="580" y="174"/>
                    </a:moveTo>
                    <a:lnTo>
                      <a:pt x="562" y="174"/>
                    </a:lnTo>
                    <a:lnTo>
                      <a:pt x="562" y="174"/>
                    </a:lnTo>
                    <a:lnTo>
                      <a:pt x="560" y="155"/>
                    </a:lnTo>
                    <a:lnTo>
                      <a:pt x="557" y="139"/>
                    </a:lnTo>
                    <a:lnTo>
                      <a:pt x="552" y="122"/>
                    </a:lnTo>
                    <a:lnTo>
                      <a:pt x="545" y="105"/>
                    </a:lnTo>
                    <a:lnTo>
                      <a:pt x="537" y="90"/>
                    </a:lnTo>
                    <a:lnTo>
                      <a:pt x="527" y="77"/>
                    </a:lnTo>
                    <a:lnTo>
                      <a:pt x="517" y="63"/>
                    </a:lnTo>
                    <a:lnTo>
                      <a:pt x="505" y="52"/>
                    </a:lnTo>
                    <a:lnTo>
                      <a:pt x="492" y="40"/>
                    </a:lnTo>
                    <a:lnTo>
                      <a:pt x="478" y="30"/>
                    </a:lnTo>
                    <a:lnTo>
                      <a:pt x="463" y="22"/>
                    </a:lnTo>
                    <a:lnTo>
                      <a:pt x="448" y="13"/>
                    </a:lnTo>
                    <a:lnTo>
                      <a:pt x="432" y="8"/>
                    </a:lnTo>
                    <a:lnTo>
                      <a:pt x="415" y="3"/>
                    </a:lnTo>
                    <a:lnTo>
                      <a:pt x="398" y="2"/>
                    </a:lnTo>
                    <a:lnTo>
                      <a:pt x="380" y="0"/>
                    </a:lnTo>
                    <a:lnTo>
                      <a:pt x="380" y="0"/>
                    </a:lnTo>
                    <a:lnTo>
                      <a:pt x="365" y="2"/>
                    </a:lnTo>
                    <a:lnTo>
                      <a:pt x="348" y="3"/>
                    </a:lnTo>
                    <a:lnTo>
                      <a:pt x="333" y="7"/>
                    </a:lnTo>
                    <a:lnTo>
                      <a:pt x="320" y="12"/>
                    </a:lnTo>
                    <a:lnTo>
                      <a:pt x="305" y="17"/>
                    </a:lnTo>
                    <a:lnTo>
                      <a:pt x="291" y="23"/>
                    </a:lnTo>
                    <a:lnTo>
                      <a:pt x="279" y="32"/>
                    </a:lnTo>
                    <a:lnTo>
                      <a:pt x="268" y="40"/>
                    </a:lnTo>
                    <a:lnTo>
                      <a:pt x="256" y="50"/>
                    </a:lnTo>
                    <a:lnTo>
                      <a:pt x="246" y="60"/>
                    </a:lnTo>
                    <a:lnTo>
                      <a:pt x="236" y="72"/>
                    </a:lnTo>
                    <a:lnTo>
                      <a:pt x="228" y="84"/>
                    </a:lnTo>
                    <a:lnTo>
                      <a:pt x="219" y="97"/>
                    </a:lnTo>
                    <a:lnTo>
                      <a:pt x="213" y="110"/>
                    </a:lnTo>
                    <a:lnTo>
                      <a:pt x="208" y="124"/>
                    </a:lnTo>
                    <a:lnTo>
                      <a:pt x="203" y="139"/>
                    </a:lnTo>
                    <a:lnTo>
                      <a:pt x="203" y="139"/>
                    </a:lnTo>
                    <a:lnTo>
                      <a:pt x="204" y="139"/>
                    </a:lnTo>
                    <a:lnTo>
                      <a:pt x="204" y="139"/>
                    </a:lnTo>
                    <a:lnTo>
                      <a:pt x="223" y="140"/>
                    </a:lnTo>
                    <a:lnTo>
                      <a:pt x="244" y="147"/>
                    </a:lnTo>
                    <a:lnTo>
                      <a:pt x="244" y="147"/>
                    </a:lnTo>
                    <a:lnTo>
                      <a:pt x="253" y="125"/>
                    </a:lnTo>
                    <a:lnTo>
                      <a:pt x="264" y="105"/>
                    </a:lnTo>
                    <a:lnTo>
                      <a:pt x="278" y="89"/>
                    </a:lnTo>
                    <a:lnTo>
                      <a:pt x="295" y="73"/>
                    </a:lnTo>
                    <a:lnTo>
                      <a:pt x="313" y="60"/>
                    </a:lnTo>
                    <a:lnTo>
                      <a:pt x="333" y="52"/>
                    </a:lnTo>
                    <a:lnTo>
                      <a:pt x="356" y="45"/>
                    </a:lnTo>
                    <a:lnTo>
                      <a:pt x="368" y="43"/>
                    </a:lnTo>
                    <a:lnTo>
                      <a:pt x="380" y="43"/>
                    </a:lnTo>
                    <a:lnTo>
                      <a:pt x="380" y="43"/>
                    </a:lnTo>
                    <a:lnTo>
                      <a:pt x="393" y="43"/>
                    </a:lnTo>
                    <a:lnTo>
                      <a:pt x="408" y="47"/>
                    </a:lnTo>
                    <a:lnTo>
                      <a:pt x="422" y="50"/>
                    </a:lnTo>
                    <a:lnTo>
                      <a:pt x="433" y="55"/>
                    </a:lnTo>
                    <a:lnTo>
                      <a:pt x="447" y="60"/>
                    </a:lnTo>
                    <a:lnTo>
                      <a:pt x="458" y="67"/>
                    </a:lnTo>
                    <a:lnTo>
                      <a:pt x="468" y="75"/>
                    </a:lnTo>
                    <a:lnTo>
                      <a:pt x="478" y="84"/>
                    </a:lnTo>
                    <a:lnTo>
                      <a:pt x="487" y="94"/>
                    </a:lnTo>
                    <a:lnTo>
                      <a:pt x="495" y="105"/>
                    </a:lnTo>
                    <a:lnTo>
                      <a:pt x="502" y="117"/>
                    </a:lnTo>
                    <a:lnTo>
                      <a:pt x="509" y="129"/>
                    </a:lnTo>
                    <a:lnTo>
                      <a:pt x="514" y="142"/>
                    </a:lnTo>
                    <a:lnTo>
                      <a:pt x="517" y="155"/>
                    </a:lnTo>
                    <a:lnTo>
                      <a:pt x="519" y="169"/>
                    </a:lnTo>
                    <a:lnTo>
                      <a:pt x="519" y="182"/>
                    </a:lnTo>
                    <a:lnTo>
                      <a:pt x="519" y="196"/>
                    </a:lnTo>
                    <a:lnTo>
                      <a:pt x="519" y="196"/>
                    </a:lnTo>
                    <a:lnTo>
                      <a:pt x="520" y="204"/>
                    </a:lnTo>
                    <a:lnTo>
                      <a:pt x="525" y="211"/>
                    </a:lnTo>
                    <a:lnTo>
                      <a:pt x="532" y="216"/>
                    </a:lnTo>
                    <a:lnTo>
                      <a:pt x="540" y="217"/>
                    </a:lnTo>
                    <a:lnTo>
                      <a:pt x="580" y="217"/>
                    </a:lnTo>
                    <a:lnTo>
                      <a:pt x="580" y="217"/>
                    </a:lnTo>
                    <a:lnTo>
                      <a:pt x="594" y="217"/>
                    </a:lnTo>
                    <a:lnTo>
                      <a:pt x="609" y="219"/>
                    </a:lnTo>
                    <a:lnTo>
                      <a:pt x="621" y="222"/>
                    </a:lnTo>
                    <a:lnTo>
                      <a:pt x="634" y="227"/>
                    </a:lnTo>
                    <a:lnTo>
                      <a:pt x="646" y="232"/>
                    </a:lnTo>
                    <a:lnTo>
                      <a:pt x="657" y="241"/>
                    </a:lnTo>
                    <a:lnTo>
                      <a:pt x="667" y="247"/>
                    </a:lnTo>
                    <a:lnTo>
                      <a:pt x="677" y="256"/>
                    </a:lnTo>
                    <a:lnTo>
                      <a:pt x="686" y="266"/>
                    </a:lnTo>
                    <a:lnTo>
                      <a:pt x="694" y="277"/>
                    </a:lnTo>
                    <a:lnTo>
                      <a:pt x="701" y="287"/>
                    </a:lnTo>
                    <a:lnTo>
                      <a:pt x="706" y="299"/>
                    </a:lnTo>
                    <a:lnTo>
                      <a:pt x="711" y="313"/>
                    </a:lnTo>
                    <a:lnTo>
                      <a:pt x="714" y="326"/>
                    </a:lnTo>
                    <a:lnTo>
                      <a:pt x="716" y="339"/>
                    </a:lnTo>
                    <a:lnTo>
                      <a:pt x="717" y="353"/>
                    </a:lnTo>
                    <a:lnTo>
                      <a:pt x="717" y="359"/>
                    </a:lnTo>
                    <a:lnTo>
                      <a:pt x="717" y="359"/>
                    </a:lnTo>
                    <a:lnTo>
                      <a:pt x="716" y="373"/>
                    </a:lnTo>
                    <a:lnTo>
                      <a:pt x="714" y="386"/>
                    </a:lnTo>
                    <a:lnTo>
                      <a:pt x="711" y="400"/>
                    </a:lnTo>
                    <a:lnTo>
                      <a:pt x="706" y="411"/>
                    </a:lnTo>
                    <a:lnTo>
                      <a:pt x="701" y="425"/>
                    </a:lnTo>
                    <a:lnTo>
                      <a:pt x="694" y="435"/>
                    </a:lnTo>
                    <a:lnTo>
                      <a:pt x="686" y="446"/>
                    </a:lnTo>
                    <a:lnTo>
                      <a:pt x="677" y="455"/>
                    </a:lnTo>
                    <a:lnTo>
                      <a:pt x="667" y="465"/>
                    </a:lnTo>
                    <a:lnTo>
                      <a:pt x="657" y="471"/>
                    </a:lnTo>
                    <a:lnTo>
                      <a:pt x="646" y="478"/>
                    </a:lnTo>
                    <a:lnTo>
                      <a:pt x="634" y="485"/>
                    </a:lnTo>
                    <a:lnTo>
                      <a:pt x="621" y="490"/>
                    </a:lnTo>
                    <a:lnTo>
                      <a:pt x="609" y="493"/>
                    </a:lnTo>
                    <a:lnTo>
                      <a:pt x="594" y="495"/>
                    </a:lnTo>
                    <a:lnTo>
                      <a:pt x="580" y="495"/>
                    </a:lnTo>
                    <a:lnTo>
                      <a:pt x="547" y="495"/>
                    </a:lnTo>
                    <a:lnTo>
                      <a:pt x="179" y="495"/>
                    </a:lnTo>
                    <a:lnTo>
                      <a:pt x="179" y="495"/>
                    </a:lnTo>
                    <a:lnTo>
                      <a:pt x="164" y="495"/>
                    </a:lnTo>
                    <a:lnTo>
                      <a:pt x="151" y="493"/>
                    </a:lnTo>
                    <a:lnTo>
                      <a:pt x="139" y="490"/>
                    </a:lnTo>
                    <a:lnTo>
                      <a:pt x="126" y="485"/>
                    </a:lnTo>
                    <a:lnTo>
                      <a:pt x="114" y="478"/>
                    </a:lnTo>
                    <a:lnTo>
                      <a:pt x="102" y="471"/>
                    </a:lnTo>
                    <a:lnTo>
                      <a:pt x="92" y="465"/>
                    </a:lnTo>
                    <a:lnTo>
                      <a:pt x="82" y="455"/>
                    </a:lnTo>
                    <a:lnTo>
                      <a:pt x="74" y="446"/>
                    </a:lnTo>
                    <a:lnTo>
                      <a:pt x="66" y="435"/>
                    </a:lnTo>
                    <a:lnTo>
                      <a:pt x="59" y="425"/>
                    </a:lnTo>
                    <a:lnTo>
                      <a:pt x="54" y="411"/>
                    </a:lnTo>
                    <a:lnTo>
                      <a:pt x="49" y="400"/>
                    </a:lnTo>
                    <a:lnTo>
                      <a:pt x="45" y="386"/>
                    </a:lnTo>
                    <a:lnTo>
                      <a:pt x="44" y="373"/>
                    </a:lnTo>
                    <a:lnTo>
                      <a:pt x="42" y="359"/>
                    </a:lnTo>
                    <a:lnTo>
                      <a:pt x="42" y="353"/>
                    </a:lnTo>
                    <a:lnTo>
                      <a:pt x="42" y="353"/>
                    </a:lnTo>
                    <a:lnTo>
                      <a:pt x="44" y="341"/>
                    </a:lnTo>
                    <a:lnTo>
                      <a:pt x="45" y="328"/>
                    </a:lnTo>
                    <a:lnTo>
                      <a:pt x="47" y="316"/>
                    </a:lnTo>
                    <a:lnTo>
                      <a:pt x="50" y="304"/>
                    </a:lnTo>
                    <a:lnTo>
                      <a:pt x="55" y="294"/>
                    </a:lnTo>
                    <a:lnTo>
                      <a:pt x="62" y="284"/>
                    </a:lnTo>
                    <a:lnTo>
                      <a:pt x="67" y="274"/>
                    </a:lnTo>
                    <a:lnTo>
                      <a:pt x="76" y="264"/>
                    </a:lnTo>
                    <a:lnTo>
                      <a:pt x="92" y="247"/>
                    </a:lnTo>
                    <a:lnTo>
                      <a:pt x="101" y="241"/>
                    </a:lnTo>
                    <a:lnTo>
                      <a:pt x="111" y="234"/>
                    </a:lnTo>
                    <a:lnTo>
                      <a:pt x="122" y="229"/>
                    </a:lnTo>
                    <a:lnTo>
                      <a:pt x="132" y="224"/>
                    </a:lnTo>
                    <a:lnTo>
                      <a:pt x="144" y="221"/>
                    </a:lnTo>
                    <a:lnTo>
                      <a:pt x="156" y="219"/>
                    </a:lnTo>
                    <a:lnTo>
                      <a:pt x="156" y="219"/>
                    </a:lnTo>
                    <a:lnTo>
                      <a:pt x="159" y="217"/>
                    </a:lnTo>
                    <a:lnTo>
                      <a:pt x="159" y="217"/>
                    </a:lnTo>
                    <a:lnTo>
                      <a:pt x="167" y="217"/>
                    </a:lnTo>
                    <a:lnTo>
                      <a:pt x="167" y="217"/>
                    </a:lnTo>
                    <a:lnTo>
                      <a:pt x="179" y="217"/>
                    </a:lnTo>
                    <a:lnTo>
                      <a:pt x="184" y="217"/>
                    </a:lnTo>
                    <a:lnTo>
                      <a:pt x="184" y="217"/>
                    </a:lnTo>
                    <a:lnTo>
                      <a:pt x="198" y="217"/>
                    </a:lnTo>
                    <a:lnTo>
                      <a:pt x="211" y="219"/>
                    </a:lnTo>
                    <a:lnTo>
                      <a:pt x="223" y="222"/>
                    </a:lnTo>
                    <a:lnTo>
                      <a:pt x="234" y="227"/>
                    </a:lnTo>
                    <a:lnTo>
                      <a:pt x="246" y="232"/>
                    </a:lnTo>
                    <a:lnTo>
                      <a:pt x="258" y="239"/>
                    </a:lnTo>
                    <a:lnTo>
                      <a:pt x="268" y="246"/>
                    </a:lnTo>
                    <a:lnTo>
                      <a:pt x="278" y="256"/>
                    </a:lnTo>
                    <a:lnTo>
                      <a:pt x="278" y="256"/>
                    </a:lnTo>
                    <a:lnTo>
                      <a:pt x="285" y="259"/>
                    </a:lnTo>
                    <a:lnTo>
                      <a:pt x="293" y="261"/>
                    </a:lnTo>
                    <a:lnTo>
                      <a:pt x="293" y="261"/>
                    </a:lnTo>
                    <a:lnTo>
                      <a:pt x="300" y="259"/>
                    </a:lnTo>
                    <a:lnTo>
                      <a:pt x="308" y="254"/>
                    </a:lnTo>
                    <a:lnTo>
                      <a:pt x="308" y="254"/>
                    </a:lnTo>
                    <a:lnTo>
                      <a:pt x="311" y="247"/>
                    </a:lnTo>
                    <a:lnTo>
                      <a:pt x="313" y="239"/>
                    </a:lnTo>
                    <a:lnTo>
                      <a:pt x="311" y="231"/>
                    </a:lnTo>
                    <a:lnTo>
                      <a:pt x="306" y="224"/>
                    </a:lnTo>
                    <a:lnTo>
                      <a:pt x="306" y="224"/>
                    </a:lnTo>
                    <a:lnTo>
                      <a:pt x="293" y="212"/>
                    </a:lnTo>
                    <a:lnTo>
                      <a:pt x="279" y="202"/>
                    </a:lnTo>
                    <a:lnTo>
                      <a:pt x="264" y="194"/>
                    </a:lnTo>
                    <a:lnTo>
                      <a:pt x="249" y="187"/>
                    </a:lnTo>
                    <a:lnTo>
                      <a:pt x="233" y="180"/>
                    </a:lnTo>
                    <a:lnTo>
                      <a:pt x="216" y="177"/>
                    </a:lnTo>
                    <a:lnTo>
                      <a:pt x="199" y="174"/>
                    </a:lnTo>
                    <a:lnTo>
                      <a:pt x="181" y="174"/>
                    </a:lnTo>
                    <a:lnTo>
                      <a:pt x="181" y="174"/>
                    </a:lnTo>
                    <a:lnTo>
                      <a:pt x="167" y="174"/>
                    </a:lnTo>
                    <a:lnTo>
                      <a:pt x="154" y="175"/>
                    </a:lnTo>
                    <a:lnTo>
                      <a:pt x="149" y="177"/>
                    </a:lnTo>
                    <a:lnTo>
                      <a:pt x="149" y="177"/>
                    </a:lnTo>
                    <a:lnTo>
                      <a:pt x="132" y="180"/>
                    </a:lnTo>
                    <a:lnTo>
                      <a:pt x="117" y="186"/>
                    </a:lnTo>
                    <a:lnTo>
                      <a:pt x="104" y="191"/>
                    </a:lnTo>
                    <a:lnTo>
                      <a:pt x="89" y="197"/>
                    </a:lnTo>
                    <a:lnTo>
                      <a:pt x="77" y="206"/>
                    </a:lnTo>
                    <a:lnTo>
                      <a:pt x="64" y="216"/>
                    </a:lnTo>
                    <a:lnTo>
                      <a:pt x="52" y="226"/>
                    </a:lnTo>
                    <a:lnTo>
                      <a:pt x="42" y="237"/>
                    </a:lnTo>
                    <a:lnTo>
                      <a:pt x="32" y="249"/>
                    </a:lnTo>
                    <a:lnTo>
                      <a:pt x="24" y="262"/>
                    </a:lnTo>
                    <a:lnTo>
                      <a:pt x="17" y="276"/>
                    </a:lnTo>
                    <a:lnTo>
                      <a:pt x="10" y="291"/>
                    </a:lnTo>
                    <a:lnTo>
                      <a:pt x="5" y="306"/>
                    </a:lnTo>
                    <a:lnTo>
                      <a:pt x="2" y="321"/>
                    </a:lnTo>
                    <a:lnTo>
                      <a:pt x="0" y="336"/>
                    </a:lnTo>
                    <a:lnTo>
                      <a:pt x="0" y="353"/>
                    </a:lnTo>
                    <a:lnTo>
                      <a:pt x="0" y="359"/>
                    </a:lnTo>
                    <a:lnTo>
                      <a:pt x="0" y="359"/>
                    </a:lnTo>
                    <a:lnTo>
                      <a:pt x="0" y="376"/>
                    </a:lnTo>
                    <a:lnTo>
                      <a:pt x="4" y="394"/>
                    </a:lnTo>
                    <a:lnTo>
                      <a:pt x="7" y="411"/>
                    </a:lnTo>
                    <a:lnTo>
                      <a:pt x="14" y="428"/>
                    </a:lnTo>
                    <a:lnTo>
                      <a:pt x="20" y="443"/>
                    </a:lnTo>
                    <a:lnTo>
                      <a:pt x="29" y="458"/>
                    </a:lnTo>
                    <a:lnTo>
                      <a:pt x="39" y="471"/>
                    </a:lnTo>
                    <a:lnTo>
                      <a:pt x="50" y="483"/>
                    </a:lnTo>
                    <a:lnTo>
                      <a:pt x="62" y="495"/>
                    </a:lnTo>
                    <a:lnTo>
                      <a:pt x="76" y="505"/>
                    </a:lnTo>
                    <a:lnTo>
                      <a:pt x="91" y="515"/>
                    </a:lnTo>
                    <a:lnTo>
                      <a:pt x="106" y="522"/>
                    </a:lnTo>
                    <a:lnTo>
                      <a:pt x="121" y="528"/>
                    </a:lnTo>
                    <a:lnTo>
                      <a:pt x="137" y="533"/>
                    </a:lnTo>
                    <a:lnTo>
                      <a:pt x="156" y="537"/>
                    </a:lnTo>
                    <a:lnTo>
                      <a:pt x="172" y="538"/>
                    </a:lnTo>
                    <a:lnTo>
                      <a:pt x="176" y="538"/>
                    </a:lnTo>
                    <a:lnTo>
                      <a:pt x="172" y="538"/>
                    </a:lnTo>
                    <a:lnTo>
                      <a:pt x="580" y="538"/>
                    </a:lnTo>
                    <a:lnTo>
                      <a:pt x="580" y="538"/>
                    </a:lnTo>
                    <a:lnTo>
                      <a:pt x="599" y="537"/>
                    </a:lnTo>
                    <a:lnTo>
                      <a:pt x="617" y="535"/>
                    </a:lnTo>
                    <a:lnTo>
                      <a:pt x="634" y="530"/>
                    </a:lnTo>
                    <a:lnTo>
                      <a:pt x="651" y="523"/>
                    </a:lnTo>
                    <a:lnTo>
                      <a:pt x="666" y="517"/>
                    </a:lnTo>
                    <a:lnTo>
                      <a:pt x="681" y="508"/>
                    </a:lnTo>
                    <a:lnTo>
                      <a:pt x="694" y="496"/>
                    </a:lnTo>
                    <a:lnTo>
                      <a:pt x="707" y="485"/>
                    </a:lnTo>
                    <a:lnTo>
                      <a:pt x="719" y="473"/>
                    </a:lnTo>
                    <a:lnTo>
                      <a:pt x="729" y="460"/>
                    </a:lnTo>
                    <a:lnTo>
                      <a:pt x="738" y="445"/>
                    </a:lnTo>
                    <a:lnTo>
                      <a:pt x="746" y="428"/>
                    </a:lnTo>
                    <a:lnTo>
                      <a:pt x="751" y="413"/>
                    </a:lnTo>
                    <a:lnTo>
                      <a:pt x="756" y="394"/>
                    </a:lnTo>
                    <a:lnTo>
                      <a:pt x="759" y="378"/>
                    </a:lnTo>
                    <a:lnTo>
                      <a:pt x="759" y="359"/>
                    </a:lnTo>
                    <a:lnTo>
                      <a:pt x="759" y="353"/>
                    </a:lnTo>
                    <a:lnTo>
                      <a:pt x="759" y="353"/>
                    </a:lnTo>
                    <a:lnTo>
                      <a:pt x="759" y="334"/>
                    </a:lnTo>
                    <a:lnTo>
                      <a:pt x="756" y="318"/>
                    </a:lnTo>
                    <a:lnTo>
                      <a:pt x="751" y="299"/>
                    </a:lnTo>
                    <a:lnTo>
                      <a:pt x="746" y="282"/>
                    </a:lnTo>
                    <a:lnTo>
                      <a:pt x="738" y="267"/>
                    </a:lnTo>
                    <a:lnTo>
                      <a:pt x="729" y="252"/>
                    </a:lnTo>
                    <a:lnTo>
                      <a:pt x="719" y="239"/>
                    </a:lnTo>
                    <a:lnTo>
                      <a:pt x="707" y="226"/>
                    </a:lnTo>
                    <a:lnTo>
                      <a:pt x="694" y="214"/>
                    </a:lnTo>
                    <a:lnTo>
                      <a:pt x="681" y="204"/>
                    </a:lnTo>
                    <a:lnTo>
                      <a:pt x="666" y="196"/>
                    </a:lnTo>
                    <a:lnTo>
                      <a:pt x="651" y="187"/>
                    </a:lnTo>
                    <a:lnTo>
                      <a:pt x="634" y="182"/>
                    </a:lnTo>
                    <a:lnTo>
                      <a:pt x="617" y="177"/>
                    </a:lnTo>
                    <a:lnTo>
                      <a:pt x="599" y="175"/>
                    </a:lnTo>
                    <a:lnTo>
                      <a:pt x="580" y="174"/>
                    </a:lnTo>
                    <a:lnTo>
                      <a:pt x="580" y="1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4" name="Freeform 190">
                <a:extLst>
                  <a:ext uri="{FF2B5EF4-FFF2-40B4-BE49-F238E27FC236}">
                    <a16:creationId xmlns:a16="http://schemas.microsoft.com/office/drawing/2014/main" id="{AD471178-E024-7642-8C3A-AE24D7A829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186" y="3432864"/>
                <a:ext cx="150863" cy="94828"/>
              </a:xfrm>
              <a:custGeom>
                <a:avLst/>
                <a:gdLst>
                  <a:gd name="T0" fmla="*/ 0 w 281"/>
                  <a:gd name="T1" fmla="*/ 102 h 176"/>
                  <a:gd name="T2" fmla="*/ 203 w 281"/>
                  <a:gd name="T3" fmla="*/ 107 h 176"/>
                  <a:gd name="T4" fmla="*/ 163 w 281"/>
                  <a:gd name="T5" fmla="*/ 147 h 176"/>
                  <a:gd name="T6" fmla="*/ 193 w 281"/>
                  <a:gd name="T7" fmla="*/ 176 h 176"/>
                  <a:gd name="T8" fmla="*/ 281 w 281"/>
                  <a:gd name="T9" fmla="*/ 87 h 176"/>
                  <a:gd name="T10" fmla="*/ 281 w 281"/>
                  <a:gd name="T11" fmla="*/ 87 h 176"/>
                  <a:gd name="T12" fmla="*/ 281 w 281"/>
                  <a:gd name="T13" fmla="*/ 87 h 176"/>
                  <a:gd name="T14" fmla="*/ 193 w 281"/>
                  <a:gd name="T15" fmla="*/ 0 h 176"/>
                  <a:gd name="T16" fmla="*/ 163 w 281"/>
                  <a:gd name="T17" fmla="*/ 30 h 176"/>
                  <a:gd name="T18" fmla="*/ 198 w 281"/>
                  <a:gd name="T19" fmla="*/ 65 h 176"/>
                  <a:gd name="T20" fmla="*/ 0 w 281"/>
                  <a:gd name="T21" fmla="*/ 60 h 176"/>
                  <a:gd name="T22" fmla="*/ 0 w 281"/>
                  <a:gd name="T23" fmla="*/ 102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1" h="176">
                    <a:moveTo>
                      <a:pt x="0" y="102"/>
                    </a:moveTo>
                    <a:lnTo>
                      <a:pt x="203" y="107"/>
                    </a:lnTo>
                    <a:lnTo>
                      <a:pt x="163" y="147"/>
                    </a:lnTo>
                    <a:lnTo>
                      <a:pt x="193" y="176"/>
                    </a:lnTo>
                    <a:lnTo>
                      <a:pt x="281" y="87"/>
                    </a:lnTo>
                    <a:lnTo>
                      <a:pt x="281" y="87"/>
                    </a:lnTo>
                    <a:lnTo>
                      <a:pt x="281" y="87"/>
                    </a:lnTo>
                    <a:lnTo>
                      <a:pt x="193" y="0"/>
                    </a:lnTo>
                    <a:lnTo>
                      <a:pt x="163" y="30"/>
                    </a:lnTo>
                    <a:lnTo>
                      <a:pt x="198" y="65"/>
                    </a:lnTo>
                    <a:lnTo>
                      <a:pt x="0" y="60"/>
                    </a:lnTo>
                    <a:lnTo>
                      <a:pt x="0" y="10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DC45F116-87D3-474E-8796-A4B262621E7A}"/>
                </a:ext>
              </a:extLst>
            </p:cNvPr>
            <p:cNvGrpSpPr/>
            <p:nvPr/>
          </p:nvGrpSpPr>
          <p:grpSpPr>
            <a:xfrm>
              <a:off x="6774810" y="2775650"/>
              <a:ext cx="733014" cy="684841"/>
              <a:chOff x="6203592" y="717395"/>
              <a:chExt cx="297955" cy="252350"/>
            </a:xfrm>
            <a:solidFill>
              <a:schemeClr val="tx1"/>
            </a:solidFill>
          </p:grpSpPr>
          <p:sp>
            <p:nvSpPr>
              <p:cNvPr id="36" name="Freeform 116">
                <a:extLst>
                  <a:ext uri="{FF2B5EF4-FFF2-40B4-BE49-F238E27FC236}">
                    <a16:creationId xmlns:a16="http://schemas.microsoft.com/office/drawing/2014/main" id="{A67DF2BE-8494-8F45-9AFA-14A23C5E2E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592" y="717395"/>
                <a:ext cx="297955" cy="252350"/>
              </a:xfrm>
              <a:custGeom>
                <a:avLst/>
                <a:gdLst>
                  <a:gd name="T0" fmla="*/ 719 w 783"/>
                  <a:gd name="T1" fmla="*/ 59 h 665"/>
                  <a:gd name="T2" fmla="*/ 672 w 783"/>
                  <a:gd name="T3" fmla="*/ 24 h 665"/>
                  <a:gd name="T4" fmla="*/ 617 w 783"/>
                  <a:gd name="T5" fmla="*/ 4 h 665"/>
                  <a:gd name="T6" fmla="*/ 577 w 783"/>
                  <a:gd name="T7" fmla="*/ 0 h 665"/>
                  <a:gd name="T8" fmla="*/ 518 w 783"/>
                  <a:gd name="T9" fmla="*/ 9 h 665"/>
                  <a:gd name="T10" fmla="*/ 465 w 783"/>
                  <a:gd name="T11" fmla="*/ 35 h 665"/>
                  <a:gd name="T12" fmla="*/ 391 w 783"/>
                  <a:gd name="T13" fmla="*/ 104 h 665"/>
                  <a:gd name="T14" fmla="*/ 332 w 783"/>
                  <a:gd name="T15" fmla="*/ 46 h 665"/>
                  <a:gd name="T16" fmla="*/ 283 w 783"/>
                  <a:gd name="T17" fmla="*/ 17 h 665"/>
                  <a:gd name="T18" fmla="*/ 224 w 783"/>
                  <a:gd name="T19" fmla="*/ 2 h 665"/>
                  <a:gd name="T20" fmla="*/ 186 w 783"/>
                  <a:gd name="T21" fmla="*/ 2 h 665"/>
                  <a:gd name="T22" fmla="*/ 128 w 783"/>
                  <a:gd name="T23" fmla="*/ 17 h 665"/>
                  <a:gd name="T24" fmla="*/ 78 w 783"/>
                  <a:gd name="T25" fmla="*/ 46 h 665"/>
                  <a:gd name="T26" fmla="*/ 58 w 783"/>
                  <a:gd name="T27" fmla="*/ 64 h 665"/>
                  <a:gd name="T28" fmla="*/ 27 w 783"/>
                  <a:gd name="T29" fmla="*/ 102 h 665"/>
                  <a:gd name="T30" fmla="*/ 9 w 783"/>
                  <a:gd name="T31" fmla="*/ 146 h 665"/>
                  <a:gd name="T32" fmla="*/ 0 w 783"/>
                  <a:gd name="T33" fmla="*/ 194 h 665"/>
                  <a:gd name="T34" fmla="*/ 2 w 783"/>
                  <a:gd name="T35" fmla="*/ 239 h 665"/>
                  <a:gd name="T36" fmla="*/ 16 w 783"/>
                  <a:gd name="T37" fmla="*/ 285 h 665"/>
                  <a:gd name="T38" fmla="*/ 75 w 783"/>
                  <a:gd name="T39" fmla="*/ 300 h 665"/>
                  <a:gd name="T40" fmla="*/ 55 w 783"/>
                  <a:gd name="T41" fmla="*/ 263 h 665"/>
                  <a:gd name="T42" fmla="*/ 45 w 783"/>
                  <a:gd name="T43" fmla="*/ 223 h 665"/>
                  <a:gd name="T44" fmla="*/ 45 w 783"/>
                  <a:gd name="T45" fmla="*/ 183 h 665"/>
                  <a:gd name="T46" fmla="*/ 58 w 783"/>
                  <a:gd name="T47" fmla="*/ 143 h 665"/>
                  <a:gd name="T48" fmla="*/ 80 w 783"/>
                  <a:gd name="T49" fmla="*/ 106 h 665"/>
                  <a:gd name="T50" fmla="*/ 95 w 783"/>
                  <a:gd name="T51" fmla="*/ 91 h 665"/>
                  <a:gd name="T52" fmla="*/ 131 w 783"/>
                  <a:gd name="T53" fmla="*/ 64 h 665"/>
                  <a:gd name="T54" fmla="*/ 175 w 783"/>
                  <a:gd name="T55" fmla="*/ 48 h 665"/>
                  <a:gd name="T56" fmla="*/ 204 w 783"/>
                  <a:gd name="T57" fmla="*/ 46 h 665"/>
                  <a:gd name="T58" fmla="*/ 250 w 783"/>
                  <a:gd name="T59" fmla="*/ 51 h 665"/>
                  <a:gd name="T60" fmla="*/ 292 w 783"/>
                  <a:gd name="T61" fmla="*/ 71 h 665"/>
                  <a:gd name="T62" fmla="*/ 360 w 783"/>
                  <a:gd name="T63" fmla="*/ 133 h 665"/>
                  <a:gd name="T64" fmla="*/ 360 w 783"/>
                  <a:gd name="T65" fmla="*/ 135 h 665"/>
                  <a:gd name="T66" fmla="*/ 383 w 783"/>
                  <a:gd name="T67" fmla="*/ 148 h 665"/>
                  <a:gd name="T68" fmla="*/ 400 w 783"/>
                  <a:gd name="T69" fmla="*/ 148 h 665"/>
                  <a:gd name="T70" fmla="*/ 423 w 783"/>
                  <a:gd name="T71" fmla="*/ 135 h 665"/>
                  <a:gd name="T72" fmla="*/ 434 w 783"/>
                  <a:gd name="T73" fmla="*/ 124 h 665"/>
                  <a:gd name="T74" fmla="*/ 467 w 783"/>
                  <a:gd name="T75" fmla="*/ 91 h 665"/>
                  <a:gd name="T76" fmla="*/ 504 w 783"/>
                  <a:gd name="T77" fmla="*/ 64 h 665"/>
                  <a:gd name="T78" fmla="*/ 548 w 783"/>
                  <a:gd name="T79" fmla="*/ 48 h 665"/>
                  <a:gd name="T80" fmla="*/ 577 w 783"/>
                  <a:gd name="T81" fmla="*/ 46 h 665"/>
                  <a:gd name="T82" fmla="*/ 622 w 783"/>
                  <a:gd name="T83" fmla="*/ 51 h 665"/>
                  <a:gd name="T84" fmla="*/ 664 w 783"/>
                  <a:gd name="T85" fmla="*/ 71 h 665"/>
                  <a:gd name="T86" fmla="*/ 694 w 783"/>
                  <a:gd name="T87" fmla="*/ 95 h 665"/>
                  <a:gd name="T88" fmla="*/ 714 w 783"/>
                  <a:gd name="T89" fmla="*/ 121 h 665"/>
                  <a:gd name="T90" fmla="*/ 732 w 783"/>
                  <a:gd name="T91" fmla="*/ 163 h 665"/>
                  <a:gd name="T92" fmla="*/ 739 w 783"/>
                  <a:gd name="T93" fmla="*/ 206 h 665"/>
                  <a:gd name="T94" fmla="*/ 732 w 783"/>
                  <a:gd name="T95" fmla="*/ 250 h 665"/>
                  <a:gd name="T96" fmla="*/ 714 w 783"/>
                  <a:gd name="T97" fmla="*/ 292 h 665"/>
                  <a:gd name="T98" fmla="*/ 391 w 783"/>
                  <a:gd name="T99" fmla="*/ 619 h 665"/>
                  <a:gd name="T100" fmla="*/ 358 w 783"/>
                  <a:gd name="T101" fmla="*/ 648 h 665"/>
                  <a:gd name="T102" fmla="*/ 358 w 783"/>
                  <a:gd name="T103" fmla="*/ 648 h 665"/>
                  <a:gd name="T104" fmla="*/ 372 w 783"/>
                  <a:gd name="T105" fmla="*/ 659 h 665"/>
                  <a:gd name="T106" fmla="*/ 391 w 783"/>
                  <a:gd name="T107" fmla="*/ 665 h 665"/>
                  <a:gd name="T108" fmla="*/ 416 w 783"/>
                  <a:gd name="T109" fmla="*/ 656 h 665"/>
                  <a:gd name="T110" fmla="*/ 425 w 783"/>
                  <a:gd name="T111" fmla="*/ 648 h 665"/>
                  <a:gd name="T112" fmla="*/ 739 w 783"/>
                  <a:gd name="T113" fmla="*/ 332 h 665"/>
                  <a:gd name="T114" fmla="*/ 769 w 783"/>
                  <a:gd name="T115" fmla="*/ 281 h 665"/>
                  <a:gd name="T116" fmla="*/ 783 w 783"/>
                  <a:gd name="T117" fmla="*/ 225 h 665"/>
                  <a:gd name="T118" fmla="*/ 780 w 783"/>
                  <a:gd name="T119" fmla="*/ 168 h 665"/>
                  <a:gd name="T120" fmla="*/ 761 w 783"/>
                  <a:gd name="T121" fmla="*/ 113 h 665"/>
                  <a:gd name="T122" fmla="*/ 725 w 783"/>
                  <a:gd name="T123" fmla="*/ 64 h 6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83" h="665">
                    <a:moveTo>
                      <a:pt x="725" y="64"/>
                    </a:moveTo>
                    <a:lnTo>
                      <a:pt x="719" y="59"/>
                    </a:lnTo>
                    <a:lnTo>
                      <a:pt x="719" y="59"/>
                    </a:lnTo>
                    <a:lnTo>
                      <a:pt x="705" y="46"/>
                    </a:lnTo>
                    <a:lnTo>
                      <a:pt x="688" y="35"/>
                    </a:lnTo>
                    <a:lnTo>
                      <a:pt x="672" y="24"/>
                    </a:lnTo>
                    <a:lnTo>
                      <a:pt x="655" y="17"/>
                    </a:lnTo>
                    <a:lnTo>
                      <a:pt x="637" y="9"/>
                    </a:lnTo>
                    <a:lnTo>
                      <a:pt x="617" y="4"/>
                    </a:lnTo>
                    <a:lnTo>
                      <a:pt x="597" y="2"/>
                    </a:lnTo>
                    <a:lnTo>
                      <a:pt x="577" y="0"/>
                    </a:lnTo>
                    <a:lnTo>
                      <a:pt x="577" y="0"/>
                    </a:lnTo>
                    <a:lnTo>
                      <a:pt x="559" y="2"/>
                    </a:lnTo>
                    <a:lnTo>
                      <a:pt x="538" y="4"/>
                    </a:lnTo>
                    <a:lnTo>
                      <a:pt x="518" y="9"/>
                    </a:lnTo>
                    <a:lnTo>
                      <a:pt x="500" y="17"/>
                    </a:lnTo>
                    <a:lnTo>
                      <a:pt x="484" y="24"/>
                    </a:lnTo>
                    <a:lnTo>
                      <a:pt x="465" y="35"/>
                    </a:lnTo>
                    <a:lnTo>
                      <a:pt x="451" y="46"/>
                    </a:lnTo>
                    <a:lnTo>
                      <a:pt x="436" y="59"/>
                    </a:lnTo>
                    <a:lnTo>
                      <a:pt x="391" y="104"/>
                    </a:lnTo>
                    <a:lnTo>
                      <a:pt x="347" y="59"/>
                    </a:lnTo>
                    <a:lnTo>
                      <a:pt x="347" y="59"/>
                    </a:lnTo>
                    <a:lnTo>
                      <a:pt x="332" y="46"/>
                    </a:lnTo>
                    <a:lnTo>
                      <a:pt x="316" y="35"/>
                    </a:lnTo>
                    <a:lnTo>
                      <a:pt x="299" y="24"/>
                    </a:lnTo>
                    <a:lnTo>
                      <a:pt x="283" y="17"/>
                    </a:lnTo>
                    <a:lnTo>
                      <a:pt x="265" y="9"/>
                    </a:lnTo>
                    <a:lnTo>
                      <a:pt x="244" y="4"/>
                    </a:lnTo>
                    <a:lnTo>
                      <a:pt x="224" y="2"/>
                    </a:lnTo>
                    <a:lnTo>
                      <a:pt x="204" y="0"/>
                    </a:lnTo>
                    <a:lnTo>
                      <a:pt x="204" y="0"/>
                    </a:lnTo>
                    <a:lnTo>
                      <a:pt x="186" y="2"/>
                    </a:lnTo>
                    <a:lnTo>
                      <a:pt x="166" y="4"/>
                    </a:lnTo>
                    <a:lnTo>
                      <a:pt x="146" y="9"/>
                    </a:lnTo>
                    <a:lnTo>
                      <a:pt x="128" y="17"/>
                    </a:lnTo>
                    <a:lnTo>
                      <a:pt x="111" y="24"/>
                    </a:lnTo>
                    <a:lnTo>
                      <a:pt x="93" y="35"/>
                    </a:lnTo>
                    <a:lnTo>
                      <a:pt x="78" y="46"/>
                    </a:lnTo>
                    <a:lnTo>
                      <a:pt x="64" y="59"/>
                    </a:lnTo>
                    <a:lnTo>
                      <a:pt x="58" y="64"/>
                    </a:lnTo>
                    <a:lnTo>
                      <a:pt x="58" y="64"/>
                    </a:lnTo>
                    <a:lnTo>
                      <a:pt x="47" y="77"/>
                    </a:lnTo>
                    <a:lnTo>
                      <a:pt x="36" y="90"/>
                    </a:lnTo>
                    <a:lnTo>
                      <a:pt x="27" y="102"/>
                    </a:lnTo>
                    <a:lnTo>
                      <a:pt x="20" y="117"/>
                    </a:lnTo>
                    <a:lnTo>
                      <a:pt x="14" y="132"/>
                    </a:lnTo>
                    <a:lnTo>
                      <a:pt x="9" y="146"/>
                    </a:lnTo>
                    <a:lnTo>
                      <a:pt x="3" y="163"/>
                    </a:lnTo>
                    <a:lnTo>
                      <a:pt x="2" y="177"/>
                    </a:lnTo>
                    <a:lnTo>
                      <a:pt x="0" y="194"/>
                    </a:lnTo>
                    <a:lnTo>
                      <a:pt x="0" y="208"/>
                    </a:lnTo>
                    <a:lnTo>
                      <a:pt x="0" y="225"/>
                    </a:lnTo>
                    <a:lnTo>
                      <a:pt x="2" y="239"/>
                    </a:lnTo>
                    <a:lnTo>
                      <a:pt x="5" y="256"/>
                    </a:lnTo>
                    <a:lnTo>
                      <a:pt x="11" y="270"/>
                    </a:lnTo>
                    <a:lnTo>
                      <a:pt x="16" y="285"/>
                    </a:lnTo>
                    <a:lnTo>
                      <a:pt x="22" y="300"/>
                    </a:lnTo>
                    <a:lnTo>
                      <a:pt x="75" y="300"/>
                    </a:lnTo>
                    <a:lnTo>
                      <a:pt x="75" y="300"/>
                    </a:lnTo>
                    <a:lnTo>
                      <a:pt x="67" y="289"/>
                    </a:lnTo>
                    <a:lnTo>
                      <a:pt x="60" y="276"/>
                    </a:lnTo>
                    <a:lnTo>
                      <a:pt x="55" y="263"/>
                    </a:lnTo>
                    <a:lnTo>
                      <a:pt x="51" y="250"/>
                    </a:lnTo>
                    <a:lnTo>
                      <a:pt x="47" y="238"/>
                    </a:lnTo>
                    <a:lnTo>
                      <a:pt x="45" y="223"/>
                    </a:lnTo>
                    <a:lnTo>
                      <a:pt x="44" y="210"/>
                    </a:lnTo>
                    <a:lnTo>
                      <a:pt x="44" y="196"/>
                    </a:lnTo>
                    <a:lnTo>
                      <a:pt x="45" y="183"/>
                    </a:lnTo>
                    <a:lnTo>
                      <a:pt x="49" y="168"/>
                    </a:lnTo>
                    <a:lnTo>
                      <a:pt x="53" y="155"/>
                    </a:lnTo>
                    <a:lnTo>
                      <a:pt x="58" y="143"/>
                    </a:lnTo>
                    <a:lnTo>
                      <a:pt x="64" y="130"/>
                    </a:lnTo>
                    <a:lnTo>
                      <a:pt x="71" y="119"/>
                    </a:lnTo>
                    <a:lnTo>
                      <a:pt x="80" y="106"/>
                    </a:lnTo>
                    <a:lnTo>
                      <a:pt x="89" y="95"/>
                    </a:lnTo>
                    <a:lnTo>
                      <a:pt x="95" y="91"/>
                    </a:lnTo>
                    <a:lnTo>
                      <a:pt x="95" y="91"/>
                    </a:lnTo>
                    <a:lnTo>
                      <a:pt x="106" y="81"/>
                    </a:lnTo>
                    <a:lnTo>
                      <a:pt x="119" y="71"/>
                    </a:lnTo>
                    <a:lnTo>
                      <a:pt x="131" y="64"/>
                    </a:lnTo>
                    <a:lnTo>
                      <a:pt x="146" y="57"/>
                    </a:lnTo>
                    <a:lnTo>
                      <a:pt x="159" y="51"/>
                    </a:lnTo>
                    <a:lnTo>
                      <a:pt x="175" y="48"/>
                    </a:lnTo>
                    <a:lnTo>
                      <a:pt x="190" y="46"/>
                    </a:lnTo>
                    <a:lnTo>
                      <a:pt x="204" y="46"/>
                    </a:lnTo>
                    <a:lnTo>
                      <a:pt x="204" y="46"/>
                    </a:lnTo>
                    <a:lnTo>
                      <a:pt x="221" y="46"/>
                    </a:lnTo>
                    <a:lnTo>
                      <a:pt x="235" y="48"/>
                    </a:lnTo>
                    <a:lnTo>
                      <a:pt x="250" y="51"/>
                    </a:lnTo>
                    <a:lnTo>
                      <a:pt x="265" y="57"/>
                    </a:lnTo>
                    <a:lnTo>
                      <a:pt x="279" y="64"/>
                    </a:lnTo>
                    <a:lnTo>
                      <a:pt x="292" y="71"/>
                    </a:lnTo>
                    <a:lnTo>
                      <a:pt x="305" y="81"/>
                    </a:lnTo>
                    <a:lnTo>
                      <a:pt x="316" y="91"/>
                    </a:lnTo>
                    <a:lnTo>
                      <a:pt x="360" y="133"/>
                    </a:lnTo>
                    <a:lnTo>
                      <a:pt x="360" y="135"/>
                    </a:lnTo>
                    <a:lnTo>
                      <a:pt x="360" y="135"/>
                    </a:lnTo>
                    <a:lnTo>
                      <a:pt x="360" y="135"/>
                    </a:lnTo>
                    <a:lnTo>
                      <a:pt x="367" y="141"/>
                    </a:lnTo>
                    <a:lnTo>
                      <a:pt x="374" y="144"/>
                    </a:lnTo>
                    <a:lnTo>
                      <a:pt x="383" y="148"/>
                    </a:lnTo>
                    <a:lnTo>
                      <a:pt x="391" y="150"/>
                    </a:lnTo>
                    <a:lnTo>
                      <a:pt x="391" y="150"/>
                    </a:lnTo>
                    <a:lnTo>
                      <a:pt x="400" y="148"/>
                    </a:lnTo>
                    <a:lnTo>
                      <a:pt x="409" y="146"/>
                    </a:lnTo>
                    <a:lnTo>
                      <a:pt x="416" y="141"/>
                    </a:lnTo>
                    <a:lnTo>
                      <a:pt x="423" y="135"/>
                    </a:lnTo>
                    <a:lnTo>
                      <a:pt x="423" y="135"/>
                    </a:lnTo>
                    <a:lnTo>
                      <a:pt x="423" y="135"/>
                    </a:lnTo>
                    <a:lnTo>
                      <a:pt x="434" y="124"/>
                    </a:lnTo>
                    <a:lnTo>
                      <a:pt x="436" y="121"/>
                    </a:lnTo>
                    <a:lnTo>
                      <a:pt x="467" y="91"/>
                    </a:lnTo>
                    <a:lnTo>
                      <a:pt x="467" y="91"/>
                    </a:lnTo>
                    <a:lnTo>
                      <a:pt x="478" y="81"/>
                    </a:lnTo>
                    <a:lnTo>
                      <a:pt x="491" y="71"/>
                    </a:lnTo>
                    <a:lnTo>
                      <a:pt x="504" y="64"/>
                    </a:lnTo>
                    <a:lnTo>
                      <a:pt x="518" y="57"/>
                    </a:lnTo>
                    <a:lnTo>
                      <a:pt x="531" y="51"/>
                    </a:lnTo>
                    <a:lnTo>
                      <a:pt x="548" y="48"/>
                    </a:lnTo>
                    <a:lnTo>
                      <a:pt x="562" y="46"/>
                    </a:lnTo>
                    <a:lnTo>
                      <a:pt x="577" y="46"/>
                    </a:lnTo>
                    <a:lnTo>
                      <a:pt x="577" y="46"/>
                    </a:lnTo>
                    <a:lnTo>
                      <a:pt x="593" y="46"/>
                    </a:lnTo>
                    <a:lnTo>
                      <a:pt x="608" y="48"/>
                    </a:lnTo>
                    <a:lnTo>
                      <a:pt x="622" y="51"/>
                    </a:lnTo>
                    <a:lnTo>
                      <a:pt x="637" y="57"/>
                    </a:lnTo>
                    <a:lnTo>
                      <a:pt x="652" y="64"/>
                    </a:lnTo>
                    <a:lnTo>
                      <a:pt x="664" y="71"/>
                    </a:lnTo>
                    <a:lnTo>
                      <a:pt x="677" y="81"/>
                    </a:lnTo>
                    <a:lnTo>
                      <a:pt x="688" y="91"/>
                    </a:lnTo>
                    <a:lnTo>
                      <a:pt x="694" y="95"/>
                    </a:lnTo>
                    <a:lnTo>
                      <a:pt x="694" y="95"/>
                    </a:lnTo>
                    <a:lnTo>
                      <a:pt x="705" y="108"/>
                    </a:lnTo>
                    <a:lnTo>
                      <a:pt x="714" y="121"/>
                    </a:lnTo>
                    <a:lnTo>
                      <a:pt x="721" y="133"/>
                    </a:lnTo>
                    <a:lnTo>
                      <a:pt x="727" y="148"/>
                    </a:lnTo>
                    <a:lnTo>
                      <a:pt x="732" y="163"/>
                    </a:lnTo>
                    <a:lnTo>
                      <a:pt x="736" y="177"/>
                    </a:lnTo>
                    <a:lnTo>
                      <a:pt x="738" y="192"/>
                    </a:lnTo>
                    <a:lnTo>
                      <a:pt x="739" y="206"/>
                    </a:lnTo>
                    <a:lnTo>
                      <a:pt x="738" y="221"/>
                    </a:lnTo>
                    <a:lnTo>
                      <a:pt x="736" y="236"/>
                    </a:lnTo>
                    <a:lnTo>
                      <a:pt x="732" y="250"/>
                    </a:lnTo>
                    <a:lnTo>
                      <a:pt x="727" y="265"/>
                    </a:lnTo>
                    <a:lnTo>
                      <a:pt x="721" y="280"/>
                    </a:lnTo>
                    <a:lnTo>
                      <a:pt x="714" y="292"/>
                    </a:lnTo>
                    <a:lnTo>
                      <a:pt x="705" y="305"/>
                    </a:lnTo>
                    <a:lnTo>
                      <a:pt x="694" y="316"/>
                    </a:lnTo>
                    <a:lnTo>
                      <a:pt x="391" y="619"/>
                    </a:lnTo>
                    <a:lnTo>
                      <a:pt x="206" y="433"/>
                    </a:lnTo>
                    <a:lnTo>
                      <a:pt x="142" y="433"/>
                    </a:lnTo>
                    <a:lnTo>
                      <a:pt x="358" y="648"/>
                    </a:lnTo>
                    <a:lnTo>
                      <a:pt x="358" y="648"/>
                    </a:lnTo>
                    <a:lnTo>
                      <a:pt x="358" y="648"/>
                    </a:lnTo>
                    <a:lnTo>
                      <a:pt x="358" y="648"/>
                    </a:lnTo>
                    <a:lnTo>
                      <a:pt x="358" y="648"/>
                    </a:lnTo>
                    <a:lnTo>
                      <a:pt x="365" y="654"/>
                    </a:lnTo>
                    <a:lnTo>
                      <a:pt x="372" y="659"/>
                    </a:lnTo>
                    <a:lnTo>
                      <a:pt x="381" y="663"/>
                    </a:lnTo>
                    <a:lnTo>
                      <a:pt x="391" y="665"/>
                    </a:lnTo>
                    <a:lnTo>
                      <a:pt x="391" y="665"/>
                    </a:lnTo>
                    <a:lnTo>
                      <a:pt x="400" y="663"/>
                    </a:lnTo>
                    <a:lnTo>
                      <a:pt x="409" y="661"/>
                    </a:lnTo>
                    <a:lnTo>
                      <a:pt x="416" y="656"/>
                    </a:lnTo>
                    <a:lnTo>
                      <a:pt x="423" y="648"/>
                    </a:lnTo>
                    <a:lnTo>
                      <a:pt x="423" y="648"/>
                    </a:lnTo>
                    <a:lnTo>
                      <a:pt x="425" y="648"/>
                    </a:lnTo>
                    <a:lnTo>
                      <a:pt x="725" y="349"/>
                    </a:lnTo>
                    <a:lnTo>
                      <a:pt x="725" y="349"/>
                    </a:lnTo>
                    <a:lnTo>
                      <a:pt x="739" y="332"/>
                    </a:lnTo>
                    <a:lnTo>
                      <a:pt x="750" y="316"/>
                    </a:lnTo>
                    <a:lnTo>
                      <a:pt x="761" y="300"/>
                    </a:lnTo>
                    <a:lnTo>
                      <a:pt x="769" y="281"/>
                    </a:lnTo>
                    <a:lnTo>
                      <a:pt x="776" y="263"/>
                    </a:lnTo>
                    <a:lnTo>
                      <a:pt x="780" y="245"/>
                    </a:lnTo>
                    <a:lnTo>
                      <a:pt x="783" y="225"/>
                    </a:lnTo>
                    <a:lnTo>
                      <a:pt x="783" y="206"/>
                    </a:lnTo>
                    <a:lnTo>
                      <a:pt x="783" y="186"/>
                    </a:lnTo>
                    <a:lnTo>
                      <a:pt x="780" y="168"/>
                    </a:lnTo>
                    <a:lnTo>
                      <a:pt x="776" y="150"/>
                    </a:lnTo>
                    <a:lnTo>
                      <a:pt x="769" y="132"/>
                    </a:lnTo>
                    <a:lnTo>
                      <a:pt x="761" y="113"/>
                    </a:lnTo>
                    <a:lnTo>
                      <a:pt x="750" y="95"/>
                    </a:lnTo>
                    <a:lnTo>
                      <a:pt x="739" y="81"/>
                    </a:lnTo>
                    <a:lnTo>
                      <a:pt x="725" y="64"/>
                    </a:lnTo>
                    <a:lnTo>
                      <a:pt x="725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7" name="Freeform 117">
                <a:extLst>
                  <a:ext uri="{FF2B5EF4-FFF2-40B4-BE49-F238E27FC236}">
                    <a16:creationId xmlns:a16="http://schemas.microsoft.com/office/drawing/2014/main" id="{86CE1EC5-BBF0-CE49-8B0B-34EE99E9BD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1438" y="759983"/>
                <a:ext cx="224226" cy="102612"/>
              </a:xfrm>
              <a:custGeom>
                <a:avLst/>
                <a:gdLst>
                  <a:gd name="T0" fmla="*/ 360 w 590"/>
                  <a:gd name="T1" fmla="*/ 270 h 270"/>
                  <a:gd name="T2" fmla="*/ 349 w 590"/>
                  <a:gd name="T3" fmla="*/ 266 h 270"/>
                  <a:gd name="T4" fmla="*/ 340 w 590"/>
                  <a:gd name="T5" fmla="*/ 257 h 270"/>
                  <a:gd name="T6" fmla="*/ 256 w 590"/>
                  <a:gd name="T7" fmla="*/ 184 h 270"/>
                  <a:gd name="T8" fmla="*/ 252 w 590"/>
                  <a:gd name="T9" fmla="*/ 188 h 270"/>
                  <a:gd name="T10" fmla="*/ 243 w 590"/>
                  <a:gd name="T11" fmla="*/ 193 h 270"/>
                  <a:gd name="T12" fmla="*/ 22 w 590"/>
                  <a:gd name="T13" fmla="*/ 193 h 270"/>
                  <a:gd name="T14" fmla="*/ 13 w 590"/>
                  <a:gd name="T15" fmla="*/ 191 h 270"/>
                  <a:gd name="T16" fmla="*/ 2 w 590"/>
                  <a:gd name="T17" fmla="*/ 178 h 270"/>
                  <a:gd name="T18" fmla="*/ 0 w 590"/>
                  <a:gd name="T19" fmla="*/ 171 h 270"/>
                  <a:gd name="T20" fmla="*/ 6 w 590"/>
                  <a:gd name="T21" fmla="*/ 155 h 270"/>
                  <a:gd name="T22" fmla="*/ 22 w 590"/>
                  <a:gd name="T23" fmla="*/ 147 h 270"/>
                  <a:gd name="T24" fmla="*/ 271 w 590"/>
                  <a:gd name="T25" fmla="*/ 89 h 270"/>
                  <a:gd name="T26" fmla="*/ 274 w 590"/>
                  <a:gd name="T27" fmla="*/ 84 h 270"/>
                  <a:gd name="T28" fmla="*/ 285 w 590"/>
                  <a:gd name="T29" fmla="*/ 80 h 270"/>
                  <a:gd name="T30" fmla="*/ 291 w 590"/>
                  <a:gd name="T31" fmla="*/ 80 h 270"/>
                  <a:gd name="T32" fmla="*/ 302 w 590"/>
                  <a:gd name="T33" fmla="*/ 84 h 270"/>
                  <a:gd name="T34" fmla="*/ 309 w 590"/>
                  <a:gd name="T35" fmla="*/ 91 h 270"/>
                  <a:gd name="T36" fmla="*/ 408 w 590"/>
                  <a:gd name="T37" fmla="*/ 16 h 270"/>
                  <a:gd name="T38" fmla="*/ 411 w 590"/>
                  <a:gd name="T39" fmla="*/ 10 h 270"/>
                  <a:gd name="T40" fmla="*/ 422 w 590"/>
                  <a:gd name="T41" fmla="*/ 1 h 270"/>
                  <a:gd name="T42" fmla="*/ 430 w 590"/>
                  <a:gd name="T43" fmla="*/ 0 h 270"/>
                  <a:gd name="T44" fmla="*/ 442 w 590"/>
                  <a:gd name="T45" fmla="*/ 5 h 270"/>
                  <a:gd name="T46" fmla="*/ 450 w 590"/>
                  <a:gd name="T47" fmla="*/ 16 h 270"/>
                  <a:gd name="T48" fmla="*/ 568 w 590"/>
                  <a:gd name="T49" fmla="*/ 149 h 270"/>
                  <a:gd name="T50" fmla="*/ 577 w 590"/>
                  <a:gd name="T51" fmla="*/ 151 h 270"/>
                  <a:gd name="T52" fmla="*/ 588 w 590"/>
                  <a:gd name="T53" fmla="*/ 164 h 270"/>
                  <a:gd name="T54" fmla="*/ 590 w 590"/>
                  <a:gd name="T55" fmla="*/ 171 h 270"/>
                  <a:gd name="T56" fmla="*/ 585 w 590"/>
                  <a:gd name="T57" fmla="*/ 188 h 270"/>
                  <a:gd name="T58" fmla="*/ 568 w 590"/>
                  <a:gd name="T59" fmla="*/ 195 h 270"/>
                  <a:gd name="T60" fmla="*/ 483 w 590"/>
                  <a:gd name="T61" fmla="*/ 195 h 270"/>
                  <a:gd name="T62" fmla="*/ 470 w 590"/>
                  <a:gd name="T63" fmla="*/ 189 h 270"/>
                  <a:gd name="T64" fmla="*/ 462 w 590"/>
                  <a:gd name="T65" fmla="*/ 178 h 270"/>
                  <a:gd name="T66" fmla="*/ 382 w 590"/>
                  <a:gd name="T67" fmla="*/ 253 h 270"/>
                  <a:gd name="T68" fmla="*/ 378 w 590"/>
                  <a:gd name="T69" fmla="*/ 261 h 270"/>
                  <a:gd name="T70" fmla="*/ 369 w 590"/>
                  <a:gd name="T71" fmla="*/ 268 h 270"/>
                  <a:gd name="T72" fmla="*/ 362 w 590"/>
                  <a:gd name="T73" fmla="*/ 270 h 270"/>
                  <a:gd name="T74" fmla="*/ 360 w 590"/>
                  <a:gd name="T75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90" h="270">
                    <a:moveTo>
                      <a:pt x="360" y="270"/>
                    </a:moveTo>
                    <a:lnTo>
                      <a:pt x="360" y="270"/>
                    </a:lnTo>
                    <a:lnTo>
                      <a:pt x="355" y="268"/>
                    </a:lnTo>
                    <a:lnTo>
                      <a:pt x="349" y="266"/>
                    </a:lnTo>
                    <a:lnTo>
                      <a:pt x="344" y="262"/>
                    </a:lnTo>
                    <a:lnTo>
                      <a:pt x="340" y="257"/>
                    </a:lnTo>
                    <a:lnTo>
                      <a:pt x="285" y="144"/>
                    </a:lnTo>
                    <a:lnTo>
                      <a:pt x="256" y="184"/>
                    </a:lnTo>
                    <a:lnTo>
                      <a:pt x="256" y="184"/>
                    </a:lnTo>
                    <a:lnTo>
                      <a:pt x="252" y="188"/>
                    </a:lnTo>
                    <a:lnTo>
                      <a:pt x="247" y="191"/>
                    </a:lnTo>
                    <a:lnTo>
                      <a:pt x="243" y="193"/>
                    </a:lnTo>
                    <a:lnTo>
                      <a:pt x="238" y="193"/>
                    </a:lnTo>
                    <a:lnTo>
                      <a:pt x="22" y="193"/>
                    </a:lnTo>
                    <a:lnTo>
                      <a:pt x="22" y="193"/>
                    </a:lnTo>
                    <a:lnTo>
                      <a:pt x="13" y="191"/>
                    </a:lnTo>
                    <a:lnTo>
                      <a:pt x="6" y="186"/>
                    </a:lnTo>
                    <a:lnTo>
                      <a:pt x="2" y="178"/>
                    </a:lnTo>
                    <a:lnTo>
                      <a:pt x="0" y="171"/>
                    </a:lnTo>
                    <a:lnTo>
                      <a:pt x="0" y="171"/>
                    </a:lnTo>
                    <a:lnTo>
                      <a:pt x="2" y="162"/>
                    </a:lnTo>
                    <a:lnTo>
                      <a:pt x="6" y="155"/>
                    </a:lnTo>
                    <a:lnTo>
                      <a:pt x="13" y="149"/>
                    </a:lnTo>
                    <a:lnTo>
                      <a:pt x="22" y="147"/>
                    </a:lnTo>
                    <a:lnTo>
                      <a:pt x="227" y="147"/>
                    </a:lnTo>
                    <a:lnTo>
                      <a:pt x="271" y="89"/>
                    </a:lnTo>
                    <a:lnTo>
                      <a:pt x="271" y="89"/>
                    </a:lnTo>
                    <a:lnTo>
                      <a:pt x="274" y="84"/>
                    </a:lnTo>
                    <a:lnTo>
                      <a:pt x="280" y="82"/>
                    </a:lnTo>
                    <a:lnTo>
                      <a:pt x="285" y="80"/>
                    </a:lnTo>
                    <a:lnTo>
                      <a:pt x="291" y="80"/>
                    </a:lnTo>
                    <a:lnTo>
                      <a:pt x="291" y="80"/>
                    </a:lnTo>
                    <a:lnTo>
                      <a:pt x="296" y="80"/>
                    </a:lnTo>
                    <a:lnTo>
                      <a:pt x="302" y="84"/>
                    </a:lnTo>
                    <a:lnTo>
                      <a:pt x="305" y="87"/>
                    </a:lnTo>
                    <a:lnTo>
                      <a:pt x="309" y="91"/>
                    </a:lnTo>
                    <a:lnTo>
                      <a:pt x="355" y="188"/>
                    </a:lnTo>
                    <a:lnTo>
                      <a:pt x="408" y="16"/>
                    </a:lnTo>
                    <a:lnTo>
                      <a:pt x="408" y="16"/>
                    </a:lnTo>
                    <a:lnTo>
                      <a:pt x="411" y="10"/>
                    </a:lnTo>
                    <a:lnTo>
                      <a:pt x="415" y="5"/>
                    </a:lnTo>
                    <a:lnTo>
                      <a:pt x="422" y="1"/>
                    </a:lnTo>
                    <a:lnTo>
                      <a:pt x="430" y="0"/>
                    </a:lnTo>
                    <a:lnTo>
                      <a:pt x="430" y="0"/>
                    </a:lnTo>
                    <a:lnTo>
                      <a:pt x="435" y="1"/>
                    </a:lnTo>
                    <a:lnTo>
                      <a:pt x="442" y="5"/>
                    </a:lnTo>
                    <a:lnTo>
                      <a:pt x="448" y="9"/>
                    </a:lnTo>
                    <a:lnTo>
                      <a:pt x="450" y="16"/>
                    </a:lnTo>
                    <a:lnTo>
                      <a:pt x="499" y="149"/>
                    </a:lnTo>
                    <a:lnTo>
                      <a:pt x="568" y="149"/>
                    </a:lnTo>
                    <a:lnTo>
                      <a:pt x="568" y="149"/>
                    </a:lnTo>
                    <a:lnTo>
                      <a:pt x="577" y="151"/>
                    </a:lnTo>
                    <a:lnTo>
                      <a:pt x="585" y="157"/>
                    </a:lnTo>
                    <a:lnTo>
                      <a:pt x="588" y="164"/>
                    </a:lnTo>
                    <a:lnTo>
                      <a:pt x="590" y="171"/>
                    </a:lnTo>
                    <a:lnTo>
                      <a:pt x="590" y="171"/>
                    </a:lnTo>
                    <a:lnTo>
                      <a:pt x="588" y="180"/>
                    </a:lnTo>
                    <a:lnTo>
                      <a:pt x="585" y="188"/>
                    </a:lnTo>
                    <a:lnTo>
                      <a:pt x="577" y="193"/>
                    </a:lnTo>
                    <a:lnTo>
                      <a:pt x="568" y="195"/>
                    </a:lnTo>
                    <a:lnTo>
                      <a:pt x="483" y="195"/>
                    </a:lnTo>
                    <a:lnTo>
                      <a:pt x="483" y="195"/>
                    </a:lnTo>
                    <a:lnTo>
                      <a:pt x="477" y="193"/>
                    </a:lnTo>
                    <a:lnTo>
                      <a:pt x="470" y="189"/>
                    </a:lnTo>
                    <a:lnTo>
                      <a:pt x="466" y="186"/>
                    </a:lnTo>
                    <a:lnTo>
                      <a:pt x="462" y="178"/>
                    </a:lnTo>
                    <a:lnTo>
                      <a:pt x="431" y="93"/>
                    </a:lnTo>
                    <a:lnTo>
                      <a:pt x="382" y="253"/>
                    </a:lnTo>
                    <a:lnTo>
                      <a:pt x="382" y="253"/>
                    </a:lnTo>
                    <a:lnTo>
                      <a:pt x="378" y="261"/>
                    </a:lnTo>
                    <a:lnTo>
                      <a:pt x="375" y="264"/>
                    </a:lnTo>
                    <a:lnTo>
                      <a:pt x="369" y="268"/>
                    </a:lnTo>
                    <a:lnTo>
                      <a:pt x="362" y="270"/>
                    </a:lnTo>
                    <a:lnTo>
                      <a:pt x="362" y="270"/>
                    </a:lnTo>
                    <a:lnTo>
                      <a:pt x="360" y="270"/>
                    </a:lnTo>
                    <a:lnTo>
                      <a:pt x="360" y="2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1ECE18B5-712F-2D47-951F-52A78FA4A23D}"/>
                </a:ext>
              </a:extLst>
            </p:cNvPr>
            <p:cNvGrpSpPr/>
            <p:nvPr/>
          </p:nvGrpSpPr>
          <p:grpSpPr>
            <a:xfrm>
              <a:off x="8766322" y="1514455"/>
              <a:ext cx="576064" cy="648072"/>
              <a:chOff x="1731497" y="1800847"/>
              <a:chExt cx="285033" cy="302515"/>
            </a:xfrm>
            <a:solidFill>
              <a:schemeClr val="tx1"/>
            </a:solidFill>
          </p:grpSpPr>
          <p:sp>
            <p:nvSpPr>
              <p:cNvPr id="42" name="Freeform 47">
                <a:extLst>
                  <a:ext uri="{FF2B5EF4-FFF2-40B4-BE49-F238E27FC236}">
                    <a16:creationId xmlns:a16="http://schemas.microsoft.com/office/drawing/2014/main" id="{D2EDFB86-B16B-8045-BDB3-BC57AB12B3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38670" y="1873055"/>
                <a:ext cx="95011" cy="114773"/>
              </a:xfrm>
              <a:custGeom>
                <a:avLst/>
                <a:gdLst>
                  <a:gd name="T0" fmla="*/ 111 w 248"/>
                  <a:gd name="T1" fmla="*/ 0 h 301"/>
                  <a:gd name="T2" fmla="*/ 77 w 248"/>
                  <a:gd name="T3" fmla="*/ 9 h 301"/>
                  <a:gd name="T4" fmla="*/ 45 w 248"/>
                  <a:gd name="T5" fmla="*/ 29 h 301"/>
                  <a:gd name="T6" fmla="*/ 20 w 248"/>
                  <a:gd name="T7" fmla="*/ 56 h 301"/>
                  <a:gd name="T8" fmla="*/ 5 w 248"/>
                  <a:gd name="T9" fmla="*/ 89 h 301"/>
                  <a:gd name="T10" fmla="*/ 0 w 248"/>
                  <a:gd name="T11" fmla="*/ 128 h 301"/>
                  <a:gd name="T12" fmla="*/ 5 w 248"/>
                  <a:gd name="T13" fmla="*/ 171 h 301"/>
                  <a:gd name="T14" fmla="*/ 22 w 248"/>
                  <a:gd name="T15" fmla="*/ 202 h 301"/>
                  <a:gd name="T16" fmla="*/ 69 w 248"/>
                  <a:gd name="T17" fmla="*/ 246 h 301"/>
                  <a:gd name="T18" fmla="*/ 91 w 248"/>
                  <a:gd name="T19" fmla="*/ 285 h 301"/>
                  <a:gd name="T20" fmla="*/ 97 w 248"/>
                  <a:gd name="T21" fmla="*/ 292 h 301"/>
                  <a:gd name="T22" fmla="*/ 111 w 248"/>
                  <a:gd name="T23" fmla="*/ 301 h 301"/>
                  <a:gd name="T24" fmla="*/ 126 w 248"/>
                  <a:gd name="T25" fmla="*/ 301 h 301"/>
                  <a:gd name="T26" fmla="*/ 137 w 248"/>
                  <a:gd name="T27" fmla="*/ 301 h 301"/>
                  <a:gd name="T28" fmla="*/ 151 w 248"/>
                  <a:gd name="T29" fmla="*/ 292 h 301"/>
                  <a:gd name="T30" fmla="*/ 157 w 248"/>
                  <a:gd name="T31" fmla="*/ 285 h 301"/>
                  <a:gd name="T32" fmla="*/ 170 w 248"/>
                  <a:gd name="T33" fmla="*/ 257 h 301"/>
                  <a:gd name="T34" fmla="*/ 206 w 248"/>
                  <a:gd name="T35" fmla="*/ 221 h 301"/>
                  <a:gd name="T36" fmla="*/ 226 w 248"/>
                  <a:gd name="T37" fmla="*/ 202 h 301"/>
                  <a:gd name="T38" fmla="*/ 248 w 248"/>
                  <a:gd name="T39" fmla="*/ 151 h 301"/>
                  <a:gd name="T40" fmla="*/ 248 w 248"/>
                  <a:gd name="T41" fmla="*/ 115 h 301"/>
                  <a:gd name="T42" fmla="*/ 239 w 248"/>
                  <a:gd name="T43" fmla="*/ 78 h 301"/>
                  <a:gd name="T44" fmla="*/ 221 w 248"/>
                  <a:gd name="T45" fmla="*/ 45 h 301"/>
                  <a:gd name="T46" fmla="*/ 193 w 248"/>
                  <a:gd name="T47" fmla="*/ 22 h 301"/>
                  <a:gd name="T48" fmla="*/ 161 w 248"/>
                  <a:gd name="T49" fmla="*/ 5 h 301"/>
                  <a:gd name="T50" fmla="*/ 124 w 248"/>
                  <a:gd name="T51" fmla="*/ 0 h 301"/>
                  <a:gd name="T52" fmla="*/ 197 w 248"/>
                  <a:gd name="T53" fmla="*/ 177 h 301"/>
                  <a:gd name="T54" fmla="*/ 177 w 248"/>
                  <a:gd name="T55" fmla="*/ 195 h 301"/>
                  <a:gd name="T56" fmla="*/ 144 w 248"/>
                  <a:gd name="T57" fmla="*/ 164 h 301"/>
                  <a:gd name="T58" fmla="*/ 177 w 248"/>
                  <a:gd name="T59" fmla="*/ 129 h 301"/>
                  <a:gd name="T60" fmla="*/ 171 w 248"/>
                  <a:gd name="T61" fmla="*/ 109 h 301"/>
                  <a:gd name="T62" fmla="*/ 159 w 248"/>
                  <a:gd name="T63" fmla="*/ 104 h 301"/>
                  <a:gd name="T64" fmla="*/ 124 w 248"/>
                  <a:gd name="T65" fmla="*/ 129 h 301"/>
                  <a:gd name="T66" fmla="*/ 97 w 248"/>
                  <a:gd name="T67" fmla="*/ 104 h 301"/>
                  <a:gd name="T68" fmla="*/ 77 w 248"/>
                  <a:gd name="T69" fmla="*/ 109 h 301"/>
                  <a:gd name="T70" fmla="*/ 71 w 248"/>
                  <a:gd name="T71" fmla="*/ 122 h 301"/>
                  <a:gd name="T72" fmla="*/ 106 w 248"/>
                  <a:gd name="T73" fmla="*/ 166 h 301"/>
                  <a:gd name="T74" fmla="*/ 97 w 248"/>
                  <a:gd name="T75" fmla="*/ 221 h 301"/>
                  <a:gd name="T76" fmla="*/ 71 w 248"/>
                  <a:gd name="T77" fmla="*/ 195 h 301"/>
                  <a:gd name="T78" fmla="*/ 45 w 248"/>
                  <a:gd name="T79" fmla="*/ 168 h 301"/>
                  <a:gd name="T80" fmla="*/ 38 w 248"/>
                  <a:gd name="T81" fmla="*/ 128 h 301"/>
                  <a:gd name="T82" fmla="*/ 44 w 248"/>
                  <a:gd name="T83" fmla="*/ 93 h 301"/>
                  <a:gd name="T84" fmla="*/ 77 w 248"/>
                  <a:gd name="T85" fmla="*/ 53 h 301"/>
                  <a:gd name="T86" fmla="*/ 124 w 248"/>
                  <a:gd name="T87" fmla="*/ 38 h 301"/>
                  <a:gd name="T88" fmla="*/ 159 w 248"/>
                  <a:gd name="T89" fmla="*/ 45 h 301"/>
                  <a:gd name="T90" fmla="*/ 195 w 248"/>
                  <a:gd name="T91" fmla="*/ 76 h 301"/>
                  <a:gd name="T92" fmla="*/ 212 w 248"/>
                  <a:gd name="T93" fmla="*/ 128 h 301"/>
                  <a:gd name="T94" fmla="*/ 206 w 248"/>
                  <a:gd name="T95" fmla="*/ 159 h 301"/>
                  <a:gd name="T96" fmla="*/ 197 w 248"/>
                  <a:gd name="T97" fmla="*/ 177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48" h="301">
                    <a:moveTo>
                      <a:pt x="124" y="0"/>
                    </a:moveTo>
                    <a:lnTo>
                      <a:pt x="124" y="0"/>
                    </a:lnTo>
                    <a:lnTo>
                      <a:pt x="111" y="0"/>
                    </a:lnTo>
                    <a:lnTo>
                      <a:pt x="98" y="2"/>
                    </a:lnTo>
                    <a:lnTo>
                      <a:pt x="87" y="5"/>
                    </a:lnTo>
                    <a:lnTo>
                      <a:pt x="77" y="9"/>
                    </a:lnTo>
                    <a:lnTo>
                      <a:pt x="66" y="14"/>
                    </a:lnTo>
                    <a:lnTo>
                      <a:pt x="55" y="22"/>
                    </a:lnTo>
                    <a:lnTo>
                      <a:pt x="45" y="29"/>
                    </a:lnTo>
                    <a:lnTo>
                      <a:pt x="36" y="36"/>
                    </a:lnTo>
                    <a:lnTo>
                      <a:pt x="27" y="45"/>
                    </a:lnTo>
                    <a:lnTo>
                      <a:pt x="20" y="56"/>
                    </a:lnTo>
                    <a:lnTo>
                      <a:pt x="14" y="67"/>
                    </a:lnTo>
                    <a:lnTo>
                      <a:pt x="9" y="78"/>
                    </a:lnTo>
                    <a:lnTo>
                      <a:pt x="5" y="89"/>
                    </a:lnTo>
                    <a:lnTo>
                      <a:pt x="2" y="102"/>
                    </a:lnTo>
                    <a:lnTo>
                      <a:pt x="0" y="115"/>
                    </a:lnTo>
                    <a:lnTo>
                      <a:pt x="0" y="128"/>
                    </a:lnTo>
                    <a:lnTo>
                      <a:pt x="0" y="128"/>
                    </a:lnTo>
                    <a:lnTo>
                      <a:pt x="2" y="151"/>
                    </a:lnTo>
                    <a:lnTo>
                      <a:pt x="5" y="171"/>
                    </a:lnTo>
                    <a:lnTo>
                      <a:pt x="13" y="188"/>
                    </a:lnTo>
                    <a:lnTo>
                      <a:pt x="22" y="202"/>
                    </a:lnTo>
                    <a:lnTo>
                      <a:pt x="22" y="202"/>
                    </a:lnTo>
                    <a:lnTo>
                      <a:pt x="40" y="221"/>
                    </a:lnTo>
                    <a:lnTo>
                      <a:pt x="60" y="237"/>
                    </a:lnTo>
                    <a:lnTo>
                      <a:pt x="69" y="246"/>
                    </a:lnTo>
                    <a:lnTo>
                      <a:pt x="78" y="257"/>
                    </a:lnTo>
                    <a:lnTo>
                      <a:pt x="86" y="270"/>
                    </a:lnTo>
                    <a:lnTo>
                      <a:pt x="91" y="285"/>
                    </a:lnTo>
                    <a:lnTo>
                      <a:pt x="91" y="285"/>
                    </a:lnTo>
                    <a:lnTo>
                      <a:pt x="93" y="286"/>
                    </a:lnTo>
                    <a:lnTo>
                      <a:pt x="97" y="292"/>
                    </a:lnTo>
                    <a:lnTo>
                      <a:pt x="100" y="296"/>
                    </a:lnTo>
                    <a:lnTo>
                      <a:pt x="104" y="299"/>
                    </a:lnTo>
                    <a:lnTo>
                      <a:pt x="111" y="301"/>
                    </a:lnTo>
                    <a:lnTo>
                      <a:pt x="120" y="301"/>
                    </a:lnTo>
                    <a:lnTo>
                      <a:pt x="122" y="301"/>
                    </a:lnTo>
                    <a:lnTo>
                      <a:pt x="126" y="301"/>
                    </a:lnTo>
                    <a:lnTo>
                      <a:pt x="128" y="301"/>
                    </a:lnTo>
                    <a:lnTo>
                      <a:pt x="128" y="301"/>
                    </a:lnTo>
                    <a:lnTo>
                      <a:pt x="137" y="301"/>
                    </a:lnTo>
                    <a:lnTo>
                      <a:pt x="144" y="299"/>
                    </a:lnTo>
                    <a:lnTo>
                      <a:pt x="148" y="296"/>
                    </a:lnTo>
                    <a:lnTo>
                      <a:pt x="151" y="292"/>
                    </a:lnTo>
                    <a:lnTo>
                      <a:pt x="155" y="286"/>
                    </a:lnTo>
                    <a:lnTo>
                      <a:pt x="157" y="285"/>
                    </a:lnTo>
                    <a:lnTo>
                      <a:pt x="157" y="285"/>
                    </a:lnTo>
                    <a:lnTo>
                      <a:pt x="157" y="285"/>
                    </a:lnTo>
                    <a:lnTo>
                      <a:pt x="162" y="270"/>
                    </a:lnTo>
                    <a:lnTo>
                      <a:pt x="170" y="257"/>
                    </a:lnTo>
                    <a:lnTo>
                      <a:pt x="177" y="246"/>
                    </a:lnTo>
                    <a:lnTo>
                      <a:pt x="186" y="237"/>
                    </a:lnTo>
                    <a:lnTo>
                      <a:pt x="206" y="221"/>
                    </a:lnTo>
                    <a:lnTo>
                      <a:pt x="217" y="212"/>
                    </a:lnTo>
                    <a:lnTo>
                      <a:pt x="226" y="202"/>
                    </a:lnTo>
                    <a:lnTo>
                      <a:pt x="226" y="202"/>
                    </a:lnTo>
                    <a:lnTo>
                      <a:pt x="235" y="188"/>
                    </a:lnTo>
                    <a:lnTo>
                      <a:pt x="243" y="170"/>
                    </a:lnTo>
                    <a:lnTo>
                      <a:pt x="248" y="151"/>
                    </a:lnTo>
                    <a:lnTo>
                      <a:pt x="248" y="128"/>
                    </a:lnTo>
                    <a:lnTo>
                      <a:pt x="248" y="128"/>
                    </a:lnTo>
                    <a:lnTo>
                      <a:pt x="248" y="115"/>
                    </a:lnTo>
                    <a:lnTo>
                      <a:pt x="246" y="102"/>
                    </a:lnTo>
                    <a:lnTo>
                      <a:pt x="243" y="89"/>
                    </a:lnTo>
                    <a:lnTo>
                      <a:pt x="239" y="78"/>
                    </a:lnTo>
                    <a:lnTo>
                      <a:pt x="234" y="67"/>
                    </a:lnTo>
                    <a:lnTo>
                      <a:pt x="228" y="56"/>
                    </a:lnTo>
                    <a:lnTo>
                      <a:pt x="221" y="45"/>
                    </a:lnTo>
                    <a:lnTo>
                      <a:pt x="212" y="36"/>
                    </a:lnTo>
                    <a:lnTo>
                      <a:pt x="204" y="29"/>
                    </a:lnTo>
                    <a:lnTo>
                      <a:pt x="193" y="22"/>
                    </a:lnTo>
                    <a:lnTo>
                      <a:pt x="184" y="14"/>
                    </a:lnTo>
                    <a:lnTo>
                      <a:pt x="173" y="9"/>
                    </a:lnTo>
                    <a:lnTo>
                      <a:pt x="161" y="5"/>
                    </a:lnTo>
                    <a:lnTo>
                      <a:pt x="150" y="2"/>
                    </a:lnTo>
                    <a:lnTo>
                      <a:pt x="137" y="0"/>
                    </a:lnTo>
                    <a:lnTo>
                      <a:pt x="124" y="0"/>
                    </a:lnTo>
                    <a:lnTo>
                      <a:pt x="124" y="0"/>
                    </a:lnTo>
                    <a:close/>
                    <a:moveTo>
                      <a:pt x="197" y="177"/>
                    </a:moveTo>
                    <a:lnTo>
                      <a:pt x="197" y="177"/>
                    </a:lnTo>
                    <a:lnTo>
                      <a:pt x="188" y="186"/>
                    </a:lnTo>
                    <a:lnTo>
                      <a:pt x="177" y="195"/>
                    </a:lnTo>
                    <a:lnTo>
                      <a:pt x="177" y="195"/>
                    </a:lnTo>
                    <a:lnTo>
                      <a:pt x="161" y="208"/>
                    </a:lnTo>
                    <a:lnTo>
                      <a:pt x="144" y="226"/>
                    </a:lnTo>
                    <a:lnTo>
                      <a:pt x="144" y="164"/>
                    </a:lnTo>
                    <a:lnTo>
                      <a:pt x="171" y="135"/>
                    </a:lnTo>
                    <a:lnTo>
                      <a:pt x="171" y="135"/>
                    </a:lnTo>
                    <a:lnTo>
                      <a:pt x="177" y="129"/>
                    </a:lnTo>
                    <a:lnTo>
                      <a:pt x="177" y="122"/>
                    </a:lnTo>
                    <a:lnTo>
                      <a:pt x="177" y="115"/>
                    </a:lnTo>
                    <a:lnTo>
                      <a:pt x="171" y="109"/>
                    </a:lnTo>
                    <a:lnTo>
                      <a:pt x="171" y="109"/>
                    </a:lnTo>
                    <a:lnTo>
                      <a:pt x="166" y="104"/>
                    </a:lnTo>
                    <a:lnTo>
                      <a:pt x="159" y="104"/>
                    </a:lnTo>
                    <a:lnTo>
                      <a:pt x="151" y="104"/>
                    </a:lnTo>
                    <a:lnTo>
                      <a:pt x="146" y="109"/>
                    </a:lnTo>
                    <a:lnTo>
                      <a:pt x="124" y="129"/>
                    </a:lnTo>
                    <a:lnTo>
                      <a:pt x="104" y="109"/>
                    </a:lnTo>
                    <a:lnTo>
                      <a:pt x="104" y="109"/>
                    </a:lnTo>
                    <a:lnTo>
                      <a:pt x="97" y="104"/>
                    </a:lnTo>
                    <a:lnTo>
                      <a:pt x="89" y="104"/>
                    </a:lnTo>
                    <a:lnTo>
                      <a:pt x="82" y="104"/>
                    </a:lnTo>
                    <a:lnTo>
                      <a:pt x="77" y="109"/>
                    </a:lnTo>
                    <a:lnTo>
                      <a:pt x="77" y="109"/>
                    </a:lnTo>
                    <a:lnTo>
                      <a:pt x="73" y="115"/>
                    </a:lnTo>
                    <a:lnTo>
                      <a:pt x="71" y="122"/>
                    </a:lnTo>
                    <a:lnTo>
                      <a:pt x="73" y="129"/>
                    </a:lnTo>
                    <a:lnTo>
                      <a:pt x="77" y="135"/>
                    </a:lnTo>
                    <a:lnTo>
                      <a:pt x="106" y="166"/>
                    </a:lnTo>
                    <a:lnTo>
                      <a:pt x="106" y="230"/>
                    </a:lnTo>
                    <a:lnTo>
                      <a:pt x="106" y="230"/>
                    </a:lnTo>
                    <a:lnTo>
                      <a:pt x="97" y="221"/>
                    </a:lnTo>
                    <a:lnTo>
                      <a:pt x="87" y="210"/>
                    </a:lnTo>
                    <a:lnTo>
                      <a:pt x="71" y="195"/>
                    </a:lnTo>
                    <a:lnTo>
                      <a:pt x="71" y="195"/>
                    </a:lnTo>
                    <a:lnTo>
                      <a:pt x="53" y="179"/>
                    </a:lnTo>
                    <a:lnTo>
                      <a:pt x="53" y="179"/>
                    </a:lnTo>
                    <a:lnTo>
                      <a:pt x="45" y="168"/>
                    </a:lnTo>
                    <a:lnTo>
                      <a:pt x="42" y="155"/>
                    </a:lnTo>
                    <a:lnTo>
                      <a:pt x="38" y="142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40" y="109"/>
                    </a:lnTo>
                    <a:lnTo>
                      <a:pt x="44" y="93"/>
                    </a:lnTo>
                    <a:lnTo>
                      <a:pt x="53" y="76"/>
                    </a:lnTo>
                    <a:lnTo>
                      <a:pt x="64" y="64"/>
                    </a:lnTo>
                    <a:lnTo>
                      <a:pt x="77" y="53"/>
                    </a:lnTo>
                    <a:lnTo>
                      <a:pt x="91" y="45"/>
                    </a:lnTo>
                    <a:lnTo>
                      <a:pt x="108" y="40"/>
                    </a:lnTo>
                    <a:lnTo>
                      <a:pt x="124" y="38"/>
                    </a:lnTo>
                    <a:lnTo>
                      <a:pt x="124" y="38"/>
                    </a:lnTo>
                    <a:lnTo>
                      <a:pt x="142" y="40"/>
                    </a:lnTo>
                    <a:lnTo>
                      <a:pt x="159" y="45"/>
                    </a:lnTo>
                    <a:lnTo>
                      <a:pt x="173" y="53"/>
                    </a:lnTo>
                    <a:lnTo>
                      <a:pt x="186" y="64"/>
                    </a:lnTo>
                    <a:lnTo>
                      <a:pt x="195" y="76"/>
                    </a:lnTo>
                    <a:lnTo>
                      <a:pt x="204" y="93"/>
                    </a:lnTo>
                    <a:lnTo>
                      <a:pt x="210" y="109"/>
                    </a:lnTo>
                    <a:lnTo>
                      <a:pt x="212" y="128"/>
                    </a:lnTo>
                    <a:lnTo>
                      <a:pt x="212" y="128"/>
                    </a:lnTo>
                    <a:lnTo>
                      <a:pt x="210" y="146"/>
                    </a:lnTo>
                    <a:lnTo>
                      <a:pt x="206" y="159"/>
                    </a:lnTo>
                    <a:lnTo>
                      <a:pt x="203" y="170"/>
                    </a:lnTo>
                    <a:lnTo>
                      <a:pt x="197" y="177"/>
                    </a:lnTo>
                    <a:lnTo>
                      <a:pt x="197" y="17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3" name="Freeform 48">
                <a:extLst>
                  <a:ext uri="{FF2B5EF4-FFF2-40B4-BE49-F238E27FC236}">
                    <a16:creationId xmlns:a16="http://schemas.microsoft.com/office/drawing/2014/main" id="{B2944610-A453-E449-9EAF-7E6D087739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8955" y="1836570"/>
                <a:ext cx="14442" cy="23563"/>
              </a:xfrm>
              <a:custGeom>
                <a:avLst/>
                <a:gdLst>
                  <a:gd name="T0" fmla="*/ 18 w 36"/>
                  <a:gd name="T1" fmla="*/ 60 h 60"/>
                  <a:gd name="T2" fmla="*/ 18 w 36"/>
                  <a:gd name="T3" fmla="*/ 60 h 60"/>
                  <a:gd name="T4" fmla="*/ 25 w 36"/>
                  <a:gd name="T5" fmla="*/ 60 h 60"/>
                  <a:gd name="T6" fmla="*/ 31 w 36"/>
                  <a:gd name="T7" fmla="*/ 55 h 60"/>
                  <a:gd name="T8" fmla="*/ 36 w 36"/>
                  <a:gd name="T9" fmla="*/ 49 h 60"/>
                  <a:gd name="T10" fmla="*/ 36 w 36"/>
                  <a:gd name="T11" fmla="*/ 42 h 60"/>
                  <a:gd name="T12" fmla="*/ 36 w 36"/>
                  <a:gd name="T13" fmla="*/ 18 h 60"/>
                  <a:gd name="T14" fmla="*/ 36 w 36"/>
                  <a:gd name="T15" fmla="*/ 18 h 60"/>
                  <a:gd name="T16" fmla="*/ 36 w 36"/>
                  <a:gd name="T17" fmla="*/ 11 h 60"/>
                  <a:gd name="T18" fmla="*/ 31 w 36"/>
                  <a:gd name="T19" fmla="*/ 5 h 60"/>
                  <a:gd name="T20" fmla="*/ 25 w 36"/>
                  <a:gd name="T21" fmla="*/ 2 h 60"/>
                  <a:gd name="T22" fmla="*/ 18 w 36"/>
                  <a:gd name="T23" fmla="*/ 0 h 60"/>
                  <a:gd name="T24" fmla="*/ 18 w 36"/>
                  <a:gd name="T25" fmla="*/ 0 h 60"/>
                  <a:gd name="T26" fmla="*/ 11 w 36"/>
                  <a:gd name="T27" fmla="*/ 2 h 60"/>
                  <a:gd name="T28" fmla="*/ 5 w 36"/>
                  <a:gd name="T29" fmla="*/ 5 h 60"/>
                  <a:gd name="T30" fmla="*/ 0 w 36"/>
                  <a:gd name="T31" fmla="*/ 11 h 60"/>
                  <a:gd name="T32" fmla="*/ 0 w 36"/>
                  <a:gd name="T33" fmla="*/ 18 h 60"/>
                  <a:gd name="T34" fmla="*/ 0 w 36"/>
                  <a:gd name="T35" fmla="*/ 42 h 60"/>
                  <a:gd name="T36" fmla="*/ 0 w 36"/>
                  <a:gd name="T37" fmla="*/ 42 h 60"/>
                  <a:gd name="T38" fmla="*/ 0 w 36"/>
                  <a:gd name="T39" fmla="*/ 49 h 60"/>
                  <a:gd name="T40" fmla="*/ 5 w 36"/>
                  <a:gd name="T41" fmla="*/ 55 h 60"/>
                  <a:gd name="T42" fmla="*/ 11 w 36"/>
                  <a:gd name="T43" fmla="*/ 60 h 60"/>
                  <a:gd name="T44" fmla="*/ 18 w 36"/>
                  <a:gd name="T45" fmla="*/ 60 h 60"/>
                  <a:gd name="T46" fmla="*/ 18 w 36"/>
                  <a:gd name="T47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6" h="60">
                    <a:moveTo>
                      <a:pt x="18" y="60"/>
                    </a:moveTo>
                    <a:lnTo>
                      <a:pt x="18" y="60"/>
                    </a:lnTo>
                    <a:lnTo>
                      <a:pt x="25" y="60"/>
                    </a:lnTo>
                    <a:lnTo>
                      <a:pt x="31" y="55"/>
                    </a:lnTo>
                    <a:lnTo>
                      <a:pt x="36" y="49"/>
                    </a:lnTo>
                    <a:lnTo>
                      <a:pt x="36" y="42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1"/>
                    </a:lnTo>
                    <a:lnTo>
                      <a:pt x="31" y="5"/>
                    </a:lnTo>
                    <a:lnTo>
                      <a:pt x="25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2"/>
                    </a:lnTo>
                    <a:lnTo>
                      <a:pt x="5" y="5"/>
                    </a:lnTo>
                    <a:lnTo>
                      <a:pt x="0" y="11"/>
                    </a:lnTo>
                    <a:lnTo>
                      <a:pt x="0" y="18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9"/>
                    </a:lnTo>
                    <a:lnTo>
                      <a:pt x="5" y="55"/>
                    </a:lnTo>
                    <a:lnTo>
                      <a:pt x="11" y="60"/>
                    </a:lnTo>
                    <a:lnTo>
                      <a:pt x="18" y="60"/>
                    </a:lnTo>
                    <a:lnTo>
                      <a:pt x="18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4" name="Freeform 49">
                <a:extLst>
                  <a:ext uri="{FF2B5EF4-FFF2-40B4-BE49-F238E27FC236}">
                    <a16:creationId xmlns:a16="http://schemas.microsoft.com/office/drawing/2014/main" id="{30BF621E-B119-1E44-9BF5-3A3FC8E913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1188" y="1860893"/>
                <a:ext cx="21282" cy="22043"/>
              </a:xfrm>
              <a:custGeom>
                <a:avLst/>
                <a:gdLst>
                  <a:gd name="T0" fmla="*/ 51 w 57"/>
                  <a:gd name="T1" fmla="*/ 23 h 56"/>
                  <a:gd name="T2" fmla="*/ 33 w 57"/>
                  <a:gd name="T3" fmla="*/ 7 h 56"/>
                  <a:gd name="T4" fmla="*/ 33 w 57"/>
                  <a:gd name="T5" fmla="*/ 7 h 56"/>
                  <a:gd name="T6" fmla="*/ 28 w 57"/>
                  <a:gd name="T7" fmla="*/ 2 h 56"/>
                  <a:gd name="T8" fmla="*/ 20 w 57"/>
                  <a:gd name="T9" fmla="*/ 0 h 56"/>
                  <a:gd name="T10" fmla="*/ 13 w 57"/>
                  <a:gd name="T11" fmla="*/ 2 h 56"/>
                  <a:gd name="T12" fmla="*/ 8 w 57"/>
                  <a:gd name="T13" fmla="*/ 5 h 56"/>
                  <a:gd name="T14" fmla="*/ 8 w 57"/>
                  <a:gd name="T15" fmla="*/ 5 h 56"/>
                  <a:gd name="T16" fmla="*/ 2 w 57"/>
                  <a:gd name="T17" fmla="*/ 13 h 56"/>
                  <a:gd name="T18" fmla="*/ 0 w 57"/>
                  <a:gd name="T19" fmla="*/ 20 h 56"/>
                  <a:gd name="T20" fmla="*/ 2 w 57"/>
                  <a:gd name="T21" fmla="*/ 27 h 56"/>
                  <a:gd name="T22" fmla="*/ 8 w 57"/>
                  <a:gd name="T23" fmla="*/ 33 h 56"/>
                  <a:gd name="T24" fmla="*/ 24 w 57"/>
                  <a:gd name="T25" fmla="*/ 51 h 56"/>
                  <a:gd name="T26" fmla="*/ 24 w 57"/>
                  <a:gd name="T27" fmla="*/ 51 h 56"/>
                  <a:gd name="T28" fmla="*/ 31 w 57"/>
                  <a:gd name="T29" fmla="*/ 54 h 56"/>
                  <a:gd name="T30" fmla="*/ 39 w 57"/>
                  <a:gd name="T31" fmla="*/ 56 h 56"/>
                  <a:gd name="T32" fmla="*/ 39 w 57"/>
                  <a:gd name="T33" fmla="*/ 56 h 56"/>
                  <a:gd name="T34" fmla="*/ 46 w 57"/>
                  <a:gd name="T35" fmla="*/ 54 h 56"/>
                  <a:gd name="T36" fmla="*/ 51 w 57"/>
                  <a:gd name="T37" fmla="*/ 51 h 56"/>
                  <a:gd name="T38" fmla="*/ 51 w 57"/>
                  <a:gd name="T39" fmla="*/ 51 h 56"/>
                  <a:gd name="T40" fmla="*/ 55 w 57"/>
                  <a:gd name="T41" fmla="*/ 45 h 56"/>
                  <a:gd name="T42" fmla="*/ 57 w 57"/>
                  <a:gd name="T43" fmla="*/ 38 h 56"/>
                  <a:gd name="T44" fmla="*/ 55 w 57"/>
                  <a:gd name="T45" fmla="*/ 31 h 56"/>
                  <a:gd name="T46" fmla="*/ 51 w 57"/>
                  <a:gd name="T47" fmla="*/ 23 h 56"/>
                  <a:gd name="T48" fmla="*/ 51 w 57"/>
                  <a:gd name="T49" fmla="*/ 2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7" h="56">
                    <a:moveTo>
                      <a:pt x="51" y="23"/>
                    </a:moveTo>
                    <a:lnTo>
                      <a:pt x="33" y="7"/>
                    </a:lnTo>
                    <a:lnTo>
                      <a:pt x="33" y="7"/>
                    </a:lnTo>
                    <a:lnTo>
                      <a:pt x="28" y="2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8" y="33"/>
                    </a:lnTo>
                    <a:lnTo>
                      <a:pt x="24" y="51"/>
                    </a:lnTo>
                    <a:lnTo>
                      <a:pt x="24" y="51"/>
                    </a:lnTo>
                    <a:lnTo>
                      <a:pt x="31" y="54"/>
                    </a:lnTo>
                    <a:lnTo>
                      <a:pt x="39" y="56"/>
                    </a:lnTo>
                    <a:lnTo>
                      <a:pt x="39" y="56"/>
                    </a:lnTo>
                    <a:lnTo>
                      <a:pt x="46" y="54"/>
                    </a:lnTo>
                    <a:lnTo>
                      <a:pt x="51" y="51"/>
                    </a:lnTo>
                    <a:lnTo>
                      <a:pt x="51" y="51"/>
                    </a:lnTo>
                    <a:lnTo>
                      <a:pt x="55" y="45"/>
                    </a:lnTo>
                    <a:lnTo>
                      <a:pt x="57" y="38"/>
                    </a:lnTo>
                    <a:lnTo>
                      <a:pt x="55" y="31"/>
                    </a:lnTo>
                    <a:lnTo>
                      <a:pt x="51" y="23"/>
                    </a:lnTo>
                    <a:lnTo>
                      <a:pt x="51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5" name="Freeform 50">
                <a:extLst>
                  <a:ext uri="{FF2B5EF4-FFF2-40B4-BE49-F238E27FC236}">
                    <a16:creationId xmlns:a16="http://schemas.microsoft.com/office/drawing/2014/main" id="{D5BC7631-A804-2146-A35E-0D03BE6E7C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9881" y="1861653"/>
                <a:ext cx="21282" cy="22043"/>
              </a:xfrm>
              <a:custGeom>
                <a:avLst/>
                <a:gdLst>
                  <a:gd name="T0" fmla="*/ 51 w 57"/>
                  <a:gd name="T1" fmla="*/ 5 h 56"/>
                  <a:gd name="T2" fmla="*/ 51 w 57"/>
                  <a:gd name="T3" fmla="*/ 5 h 56"/>
                  <a:gd name="T4" fmla="*/ 44 w 57"/>
                  <a:gd name="T5" fmla="*/ 1 h 56"/>
                  <a:gd name="T6" fmla="*/ 37 w 57"/>
                  <a:gd name="T7" fmla="*/ 0 h 56"/>
                  <a:gd name="T8" fmla="*/ 29 w 57"/>
                  <a:gd name="T9" fmla="*/ 1 h 56"/>
                  <a:gd name="T10" fmla="*/ 24 w 57"/>
                  <a:gd name="T11" fmla="*/ 5 h 56"/>
                  <a:gd name="T12" fmla="*/ 6 w 57"/>
                  <a:gd name="T13" fmla="*/ 23 h 56"/>
                  <a:gd name="T14" fmla="*/ 6 w 57"/>
                  <a:gd name="T15" fmla="*/ 23 h 56"/>
                  <a:gd name="T16" fmla="*/ 2 w 57"/>
                  <a:gd name="T17" fmla="*/ 31 h 56"/>
                  <a:gd name="T18" fmla="*/ 0 w 57"/>
                  <a:gd name="T19" fmla="*/ 36 h 56"/>
                  <a:gd name="T20" fmla="*/ 2 w 57"/>
                  <a:gd name="T21" fmla="*/ 43 h 56"/>
                  <a:gd name="T22" fmla="*/ 6 w 57"/>
                  <a:gd name="T23" fmla="*/ 51 h 56"/>
                  <a:gd name="T24" fmla="*/ 6 w 57"/>
                  <a:gd name="T25" fmla="*/ 51 h 56"/>
                  <a:gd name="T26" fmla="*/ 13 w 57"/>
                  <a:gd name="T27" fmla="*/ 54 h 56"/>
                  <a:gd name="T28" fmla="*/ 20 w 57"/>
                  <a:gd name="T29" fmla="*/ 56 h 56"/>
                  <a:gd name="T30" fmla="*/ 20 w 57"/>
                  <a:gd name="T31" fmla="*/ 56 h 56"/>
                  <a:gd name="T32" fmla="*/ 27 w 57"/>
                  <a:gd name="T33" fmla="*/ 54 h 56"/>
                  <a:gd name="T34" fmla="*/ 33 w 57"/>
                  <a:gd name="T35" fmla="*/ 51 h 56"/>
                  <a:gd name="T36" fmla="*/ 51 w 57"/>
                  <a:gd name="T37" fmla="*/ 32 h 56"/>
                  <a:gd name="T38" fmla="*/ 51 w 57"/>
                  <a:gd name="T39" fmla="*/ 32 h 56"/>
                  <a:gd name="T40" fmla="*/ 55 w 57"/>
                  <a:gd name="T41" fmla="*/ 27 h 56"/>
                  <a:gd name="T42" fmla="*/ 57 w 57"/>
                  <a:gd name="T43" fmla="*/ 20 h 56"/>
                  <a:gd name="T44" fmla="*/ 55 w 57"/>
                  <a:gd name="T45" fmla="*/ 12 h 56"/>
                  <a:gd name="T46" fmla="*/ 51 w 57"/>
                  <a:gd name="T47" fmla="*/ 5 h 56"/>
                  <a:gd name="T48" fmla="*/ 51 w 57"/>
                  <a:gd name="T49" fmla="*/ 5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7" h="56">
                    <a:moveTo>
                      <a:pt x="51" y="5"/>
                    </a:moveTo>
                    <a:lnTo>
                      <a:pt x="51" y="5"/>
                    </a:lnTo>
                    <a:lnTo>
                      <a:pt x="44" y="1"/>
                    </a:lnTo>
                    <a:lnTo>
                      <a:pt x="37" y="0"/>
                    </a:lnTo>
                    <a:lnTo>
                      <a:pt x="29" y="1"/>
                    </a:lnTo>
                    <a:lnTo>
                      <a:pt x="24" y="5"/>
                    </a:lnTo>
                    <a:lnTo>
                      <a:pt x="6" y="23"/>
                    </a:lnTo>
                    <a:lnTo>
                      <a:pt x="6" y="23"/>
                    </a:lnTo>
                    <a:lnTo>
                      <a:pt x="2" y="31"/>
                    </a:lnTo>
                    <a:lnTo>
                      <a:pt x="0" y="36"/>
                    </a:lnTo>
                    <a:lnTo>
                      <a:pt x="2" y="43"/>
                    </a:lnTo>
                    <a:lnTo>
                      <a:pt x="6" y="51"/>
                    </a:lnTo>
                    <a:lnTo>
                      <a:pt x="6" y="51"/>
                    </a:lnTo>
                    <a:lnTo>
                      <a:pt x="13" y="54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7" y="54"/>
                    </a:lnTo>
                    <a:lnTo>
                      <a:pt x="33" y="51"/>
                    </a:lnTo>
                    <a:lnTo>
                      <a:pt x="51" y="32"/>
                    </a:lnTo>
                    <a:lnTo>
                      <a:pt x="51" y="32"/>
                    </a:lnTo>
                    <a:lnTo>
                      <a:pt x="55" y="27"/>
                    </a:lnTo>
                    <a:lnTo>
                      <a:pt x="57" y="20"/>
                    </a:lnTo>
                    <a:lnTo>
                      <a:pt x="55" y="12"/>
                    </a:lnTo>
                    <a:lnTo>
                      <a:pt x="51" y="5"/>
                    </a:lnTo>
                    <a:lnTo>
                      <a:pt x="51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6" name="Freeform 51">
                <a:extLst>
                  <a:ext uri="{FF2B5EF4-FFF2-40B4-BE49-F238E27FC236}">
                    <a16:creationId xmlns:a16="http://schemas.microsoft.com/office/drawing/2014/main" id="{1B448DE4-16DE-3C45-839E-01ECF4A91B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1497" y="1800847"/>
                <a:ext cx="285033" cy="302515"/>
              </a:xfrm>
              <a:custGeom>
                <a:avLst/>
                <a:gdLst>
                  <a:gd name="T0" fmla="*/ 562 w 750"/>
                  <a:gd name="T1" fmla="*/ 31 h 796"/>
                  <a:gd name="T2" fmla="*/ 423 w 750"/>
                  <a:gd name="T3" fmla="*/ 0 h 796"/>
                  <a:gd name="T4" fmla="*/ 314 w 750"/>
                  <a:gd name="T5" fmla="*/ 9 h 796"/>
                  <a:gd name="T6" fmla="*/ 177 w 750"/>
                  <a:gd name="T7" fmla="*/ 64 h 796"/>
                  <a:gd name="T8" fmla="*/ 128 w 750"/>
                  <a:gd name="T9" fmla="*/ 106 h 796"/>
                  <a:gd name="T10" fmla="*/ 89 w 750"/>
                  <a:gd name="T11" fmla="*/ 192 h 796"/>
                  <a:gd name="T12" fmla="*/ 93 w 750"/>
                  <a:gd name="T13" fmla="*/ 301 h 796"/>
                  <a:gd name="T14" fmla="*/ 7 w 750"/>
                  <a:gd name="T15" fmla="*/ 449 h 796"/>
                  <a:gd name="T16" fmla="*/ 0 w 750"/>
                  <a:gd name="T17" fmla="*/ 484 h 796"/>
                  <a:gd name="T18" fmla="*/ 18 w 750"/>
                  <a:gd name="T19" fmla="*/ 509 h 796"/>
                  <a:gd name="T20" fmla="*/ 89 w 750"/>
                  <a:gd name="T21" fmla="*/ 551 h 796"/>
                  <a:gd name="T22" fmla="*/ 95 w 750"/>
                  <a:gd name="T23" fmla="*/ 617 h 796"/>
                  <a:gd name="T24" fmla="*/ 86 w 750"/>
                  <a:gd name="T25" fmla="*/ 674 h 796"/>
                  <a:gd name="T26" fmla="*/ 109 w 750"/>
                  <a:gd name="T27" fmla="*/ 732 h 796"/>
                  <a:gd name="T28" fmla="*/ 115 w 750"/>
                  <a:gd name="T29" fmla="*/ 736 h 796"/>
                  <a:gd name="T30" fmla="*/ 173 w 750"/>
                  <a:gd name="T31" fmla="*/ 747 h 796"/>
                  <a:gd name="T32" fmla="*/ 281 w 750"/>
                  <a:gd name="T33" fmla="*/ 734 h 796"/>
                  <a:gd name="T34" fmla="*/ 332 w 750"/>
                  <a:gd name="T35" fmla="*/ 750 h 796"/>
                  <a:gd name="T36" fmla="*/ 305 w 750"/>
                  <a:gd name="T37" fmla="*/ 688 h 796"/>
                  <a:gd name="T38" fmla="*/ 254 w 750"/>
                  <a:gd name="T39" fmla="*/ 692 h 796"/>
                  <a:gd name="T40" fmla="*/ 157 w 750"/>
                  <a:gd name="T41" fmla="*/ 701 h 796"/>
                  <a:gd name="T42" fmla="*/ 135 w 750"/>
                  <a:gd name="T43" fmla="*/ 696 h 796"/>
                  <a:gd name="T44" fmla="*/ 133 w 750"/>
                  <a:gd name="T45" fmla="*/ 655 h 796"/>
                  <a:gd name="T46" fmla="*/ 140 w 750"/>
                  <a:gd name="T47" fmla="*/ 602 h 796"/>
                  <a:gd name="T48" fmla="*/ 195 w 750"/>
                  <a:gd name="T49" fmla="*/ 601 h 796"/>
                  <a:gd name="T50" fmla="*/ 208 w 750"/>
                  <a:gd name="T51" fmla="*/ 571 h 796"/>
                  <a:gd name="T52" fmla="*/ 137 w 750"/>
                  <a:gd name="T53" fmla="*/ 557 h 796"/>
                  <a:gd name="T54" fmla="*/ 111 w 750"/>
                  <a:gd name="T55" fmla="*/ 491 h 796"/>
                  <a:gd name="T56" fmla="*/ 49 w 750"/>
                  <a:gd name="T57" fmla="*/ 473 h 796"/>
                  <a:gd name="T58" fmla="*/ 122 w 750"/>
                  <a:gd name="T59" fmla="*/ 383 h 796"/>
                  <a:gd name="T60" fmla="*/ 135 w 750"/>
                  <a:gd name="T61" fmla="*/ 336 h 796"/>
                  <a:gd name="T62" fmla="*/ 137 w 750"/>
                  <a:gd name="T63" fmla="*/ 294 h 796"/>
                  <a:gd name="T64" fmla="*/ 137 w 750"/>
                  <a:gd name="T65" fmla="*/ 188 h 796"/>
                  <a:gd name="T66" fmla="*/ 168 w 750"/>
                  <a:gd name="T67" fmla="*/ 126 h 796"/>
                  <a:gd name="T68" fmla="*/ 223 w 750"/>
                  <a:gd name="T69" fmla="*/ 88 h 796"/>
                  <a:gd name="T70" fmla="*/ 347 w 750"/>
                  <a:gd name="T71" fmla="*/ 47 h 796"/>
                  <a:gd name="T72" fmla="*/ 442 w 750"/>
                  <a:gd name="T73" fmla="*/ 47 h 796"/>
                  <a:gd name="T74" fmla="*/ 588 w 750"/>
                  <a:gd name="T75" fmla="*/ 93 h 796"/>
                  <a:gd name="T76" fmla="*/ 646 w 750"/>
                  <a:gd name="T77" fmla="*/ 142 h 796"/>
                  <a:gd name="T78" fmla="*/ 692 w 750"/>
                  <a:gd name="T79" fmla="*/ 213 h 796"/>
                  <a:gd name="T80" fmla="*/ 703 w 750"/>
                  <a:gd name="T81" fmla="*/ 352 h 796"/>
                  <a:gd name="T82" fmla="*/ 664 w 750"/>
                  <a:gd name="T83" fmla="*/ 460 h 796"/>
                  <a:gd name="T84" fmla="*/ 613 w 750"/>
                  <a:gd name="T85" fmla="*/ 568 h 796"/>
                  <a:gd name="T86" fmla="*/ 597 w 750"/>
                  <a:gd name="T87" fmla="*/ 632 h 796"/>
                  <a:gd name="T88" fmla="*/ 654 w 750"/>
                  <a:gd name="T89" fmla="*/ 796 h 796"/>
                  <a:gd name="T90" fmla="*/ 641 w 750"/>
                  <a:gd name="T91" fmla="*/ 635 h 796"/>
                  <a:gd name="T92" fmla="*/ 677 w 750"/>
                  <a:gd name="T93" fmla="*/ 529 h 796"/>
                  <a:gd name="T94" fmla="*/ 703 w 750"/>
                  <a:gd name="T95" fmla="*/ 484 h 796"/>
                  <a:gd name="T96" fmla="*/ 745 w 750"/>
                  <a:gd name="T97" fmla="*/ 365 h 796"/>
                  <a:gd name="T98" fmla="*/ 743 w 750"/>
                  <a:gd name="T99" fmla="*/ 234 h 796"/>
                  <a:gd name="T100" fmla="*/ 706 w 750"/>
                  <a:gd name="T101" fmla="*/ 148 h 796"/>
                  <a:gd name="T102" fmla="*/ 628 w 750"/>
                  <a:gd name="T103" fmla="*/ 66 h 7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50" h="796">
                    <a:moveTo>
                      <a:pt x="628" y="66"/>
                    </a:moveTo>
                    <a:lnTo>
                      <a:pt x="628" y="66"/>
                    </a:lnTo>
                    <a:lnTo>
                      <a:pt x="610" y="55"/>
                    </a:lnTo>
                    <a:lnTo>
                      <a:pt x="590" y="44"/>
                    </a:lnTo>
                    <a:lnTo>
                      <a:pt x="562" y="31"/>
                    </a:lnTo>
                    <a:lnTo>
                      <a:pt x="529" y="20"/>
                    </a:lnTo>
                    <a:lnTo>
                      <a:pt x="491" y="9"/>
                    </a:lnTo>
                    <a:lnTo>
                      <a:pt x="469" y="5"/>
                    </a:lnTo>
                    <a:lnTo>
                      <a:pt x="447" y="2"/>
                    </a:lnTo>
                    <a:lnTo>
                      <a:pt x="423" y="0"/>
                    </a:lnTo>
                    <a:lnTo>
                      <a:pt x="400" y="0"/>
                    </a:lnTo>
                    <a:lnTo>
                      <a:pt x="400" y="0"/>
                    </a:lnTo>
                    <a:lnTo>
                      <a:pt x="370" y="0"/>
                    </a:lnTo>
                    <a:lnTo>
                      <a:pt x="341" y="4"/>
                    </a:lnTo>
                    <a:lnTo>
                      <a:pt x="314" y="9"/>
                    </a:lnTo>
                    <a:lnTo>
                      <a:pt x="285" y="16"/>
                    </a:lnTo>
                    <a:lnTo>
                      <a:pt x="257" y="25"/>
                    </a:lnTo>
                    <a:lnTo>
                      <a:pt x="230" y="35"/>
                    </a:lnTo>
                    <a:lnTo>
                      <a:pt x="203" y="47"/>
                    </a:lnTo>
                    <a:lnTo>
                      <a:pt x="177" y="64"/>
                    </a:lnTo>
                    <a:lnTo>
                      <a:pt x="177" y="64"/>
                    </a:lnTo>
                    <a:lnTo>
                      <a:pt x="170" y="67"/>
                    </a:lnTo>
                    <a:lnTo>
                      <a:pt x="157" y="77"/>
                    </a:lnTo>
                    <a:lnTo>
                      <a:pt x="139" y="93"/>
                    </a:lnTo>
                    <a:lnTo>
                      <a:pt x="128" y="106"/>
                    </a:lnTo>
                    <a:lnTo>
                      <a:pt x="119" y="119"/>
                    </a:lnTo>
                    <a:lnTo>
                      <a:pt x="109" y="133"/>
                    </a:lnTo>
                    <a:lnTo>
                      <a:pt x="102" y="150"/>
                    </a:lnTo>
                    <a:lnTo>
                      <a:pt x="95" y="170"/>
                    </a:lnTo>
                    <a:lnTo>
                      <a:pt x="89" y="192"/>
                    </a:lnTo>
                    <a:lnTo>
                      <a:pt x="86" y="215"/>
                    </a:lnTo>
                    <a:lnTo>
                      <a:pt x="86" y="241"/>
                    </a:lnTo>
                    <a:lnTo>
                      <a:pt x="87" y="270"/>
                    </a:lnTo>
                    <a:lnTo>
                      <a:pt x="93" y="301"/>
                    </a:lnTo>
                    <a:lnTo>
                      <a:pt x="93" y="301"/>
                    </a:lnTo>
                    <a:lnTo>
                      <a:pt x="91" y="334"/>
                    </a:lnTo>
                    <a:lnTo>
                      <a:pt x="89" y="347"/>
                    </a:lnTo>
                    <a:lnTo>
                      <a:pt x="86" y="356"/>
                    </a:lnTo>
                    <a:lnTo>
                      <a:pt x="7" y="449"/>
                    </a:lnTo>
                    <a:lnTo>
                      <a:pt x="7" y="449"/>
                    </a:lnTo>
                    <a:lnTo>
                      <a:pt x="2" y="456"/>
                    </a:lnTo>
                    <a:lnTo>
                      <a:pt x="2" y="456"/>
                    </a:lnTo>
                    <a:lnTo>
                      <a:pt x="2" y="462"/>
                    </a:lnTo>
                    <a:lnTo>
                      <a:pt x="0" y="471"/>
                    </a:lnTo>
                    <a:lnTo>
                      <a:pt x="0" y="484"/>
                    </a:lnTo>
                    <a:lnTo>
                      <a:pt x="2" y="491"/>
                    </a:lnTo>
                    <a:lnTo>
                      <a:pt x="5" y="497"/>
                    </a:lnTo>
                    <a:lnTo>
                      <a:pt x="5" y="497"/>
                    </a:lnTo>
                    <a:lnTo>
                      <a:pt x="11" y="504"/>
                    </a:lnTo>
                    <a:lnTo>
                      <a:pt x="18" y="509"/>
                    </a:lnTo>
                    <a:lnTo>
                      <a:pt x="29" y="515"/>
                    </a:lnTo>
                    <a:lnTo>
                      <a:pt x="42" y="517"/>
                    </a:lnTo>
                    <a:lnTo>
                      <a:pt x="80" y="526"/>
                    </a:lnTo>
                    <a:lnTo>
                      <a:pt x="80" y="526"/>
                    </a:lnTo>
                    <a:lnTo>
                      <a:pt x="89" y="551"/>
                    </a:lnTo>
                    <a:lnTo>
                      <a:pt x="93" y="566"/>
                    </a:lnTo>
                    <a:lnTo>
                      <a:pt x="95" y="579"/>
                    </a:lnTo>
                    <a:lnTo>
                      <a:pt x="95" y="579"/>
                    </a:lnTo>
                    <a:lnTo>
                      <a:pt x="95" y="599"/>
                    </a:lnTo>
                    <a:lnTo>
                      <a:pt x="95" y="617"/>
                    </a:lnTo>
                    <a:lnTo>
                      <a:pt x="91" y="641"/>
                    </a:lnTo>
                    <a:lnTo>
                      <a:pt x="91" y="641"/>
                    </a:lnTo>
                    <a:lnTo>
                      <a:pt x="87" y="652"/>
                    </a:lnTo>
                    <a:lnTo>
                      <a:pt x="86" y="663"/>
                    </a:lnTo>
                    <a:lnTo>
                      <a:pt x="86" y="674"/>
                    </a:lnTo>
                    <a:lnTo>
                      <a:pt x="86" y="686"/>
                    </a:lnTo>
                    <a:lnTo>
                      <a:pt x="87" y="699"/>
                    </a:lnTo>
                    <a:lnTo>
                      <a:pt x="91" y="712"/>
                    </a:lnTo>
                    <a:lnTo>
                      <a:pt x="98" y="723"/>
                    </a:lnTo>
                    <a:lnTo>
                      <a:pt x="109" y="732"/>
                    </a:lnTo>
                    <a:lnTo>
                      <a:pt x="109" y="732"/>
                    </a:lnTo>
                    <a:lnTo>
                      <a:pt x="115" y="736"/>
                    </a:lnTo>
                    <a:lnTo>
                      <a:pt x="115" y="736"/>
                    </a:lnTo>
                    <a:lnTo>
                      <a:pt x="115" y="736"/>
                    </a:lnTo>
                    <a:lnTo>
                      <a:pt x="115" y="736"/>
                    </a:lnTo>
                    <a:lnTo>
                      <a:pt x="120" y="738"/>
                    </a:lnTo>
                    <a:lnTo>
                      <a:pt x="133" y="741"/>
                    </a:lnTo>
                    <a:lnTo>
                      <a:pt x="150" y="745"/>
                    </a:lnTo>
                    <a:lnTo>
                      <a:pt x="173" y="747"/>
                    </a:lnTo>
                    <a:lnTo>
                      <a:pt x="173" y="747"/>
                    </a:lnTo>
                    <a:lnTo>
                      <a:pt x="195" y="745"/>
                    </a:lnTo>
                    <a:lnTo>
                      <a:pt x="221" y="743"/>
                    </a:lnTo>
                    <a:lnTo>
                      <a:pt x="250" y="739"/>
                    </a:lnTo>
                    <a:lnTo>
                      <a:pt x="281" y="734"/>
                    </a:lnTo>
                    <a:lnTo>
                      <a:pt x="281" y="734"/>
                    </a:lnTo>
                    <a:lnTo>
                      <a:pt x="288" y="756"/>
                    </a:lnTo>
                    <a:lnTo>
                      <a:pt x="294" y="796"/>
                    </a:lnTo>
                    <a:lnTo>
                      <a:pt x="339" y="796"/>
                    </a:lnTo>
                    <a:lnTo>
                      <a:pt x="339" y="796"/>
                    </a:lnTo>
                    <a:lnTo>
                      <a:pt x="332" y="750"/>
                    </a:lnTo>
                    <a:lnTo>
                      <a:pt x="325" y="719"/>
                    </a:lnTo>
                    <a:lnTo>
                      <a:pt x="316" y="701"/>
                    </a:lnTo>
                    <a:lnTo>
                      <a:pt x="308" y="692"/>
                    </a:lnTo>
                    <a:lnTo>
                      <a:pt x="308" y="692"/>
                    </a:lnTo>
                    <a:lnTo>
                      <a:pt x="305" y="688"/>
                    </a:lnTo>
                    <a:lnTo>
                      <a:pt x="299" y="686"/>
                    </a:lnTo>
                    <a:lnTo>
                      <a:pt x="294" y="685"/>
                    </a:lnTo>
                    <a:lnTo>
                      <a:pt x="288" y="686"/>
                    </a:lnTo>
                    <a:lnTo>
                      <a:pt x="288" y="686"/>
                    </a:lnTo>
                    <a:lnTo>
                      <a:pt x="254" y="692"/>
                    </a:lnTo>
                    <a:lnTo>
                      <a:pt x="223" y="697"/>
                    </a:lnTo>
                    <a:lnTo>
                      <a:pt x="195" y="701"/>
                    </a:lnTo>
                    <a:lnTo>
                      <a:pt x="173" y="701"/>
                    </a:lnTo>
                    <a:lnTo>
                      <a:pt x="173" y="701"/>
                    </a:lnTo>
                    <a:lnTo>
                      <a:pt x="157" y="701"/>
                    </a:lnTo>
                    <a:lnTo>
                      <a:pt x="146" y="699"/>
                    </a:lnTo>
                    <a:lnTo>
                      <a:pt x="135" y="696"/>
                    </a:lnTo>
                    <a:lnTo>
                      <a:pt x="135" y="696"/>
                    </a:lnTo>
                    <a:lnTo>
                      <a:pt x="135" y="696"/>
                    </a:lnTo>
                    <a:lnTo>
                      <a:pt x="135" y="696"/>
                    </a:lnTo>
                    <a:lnTo>
                      <a:pt x="131" y="692"/>
                    </a:lnTo>
                    <a:lnTo>
                      <a:pt x="129" y="686"/>
                    </a:lnTo>
                    <a:lnTo>
                      <a:pt x="129" y="674"/>
                    </a:lnTo>
                    <a:lnTo>
                      <a:pt x="131" y="663"/>
                    </a:lnTo>
                    <a:lnTo>
                      <a:pt x="133" y="655"/>
                    </a:lnTo>
                    <a:lnTo>
                      <a:pt x="133" y="655"/>
                    </a:lnTo>
                    <a:lnTo>
                      <a:pt x="135" y="652"/>
                    </a:lnTo>
                    <a:lnTo>
                      <a:pt x="135" y="652"/>
                    </a:lnTo>
                    <a:lnTo>
                      <a:pt x="137" y="635"/>
                    </a:lnTo>
                    <a:lnTo>
                      <a:pt x="140" y="602"/>
                    </a:lnTo>
                    <a:lnTo>
                      <a:pt x="186" y="602"/>
                    </a:lnTo>
                    <a:lnTo>
                      <a:pt x="186" y="602"/>
                    </a:lnTo>
                    <a:lnTo>
                      <a:pt x="186" y="602"/>
                    </a:lnTo>
                    <a:lnTo>
                      <a:pt x="186" y="602"/>
                    </a:lnTo>
                    <a:lnTo>
                      <a:pt x="195" y="601"/>
                    </a:lnTo>
                    <a:lnTo>
                      <a:pt x="203" y="597"/>
                    </a:lnTo>
                    <a:lnTo>
                      <a:pt x="206" y="590"/>
                    </a:lnTo>
                    <a:lnTo>
                      <a:pt x="208" y="581"/>
                    </a:lnTo>
                    <a:lnTo>
                      <a:pt x="208" y="581"/>
                    </a:lnTo>
                    <a:lnTo>
                      <a:pt x="208" y="571"/>
                    </a:lnTo>
                    <a:lnTo>
                      <a:pt x="203" y="564"/>
                    </a:lnTo>
                    <a:lnTo>
                      <a:pt x="195" y="560"/>
                    </a:lnTo>
                    <a:lnTo>
                      <a:pt x="186" y="559"/>
                    </a:lnTo>
                    <a:lnTo>
                      <a:pt x="137" y="557"/>
                    </a:lnTo>
                    <a:lnTo>
                      <a:pt x="137" y="557"/>
                    </a:lnTo>
                    <a:lnTo>
                      <a:pt x="131" y="535"/>
                    </a:lnTo>
                    <a:lnTo>
                      <a:pt x="124" y="517"/>
                    </a:lnTo>
                    <a:lnTo>
                      <a:pt x="115" y="495"/>
                    </a:lnTo>
                    <a:lnTo>
                      <a:pt x="115" y="495"/>
                    </a:lnTo>
                    <a:lnTo>
                      <a:pt x="111" y="491"/>
                    </a:lnTo>
                    <a:lnTo>
                      <a:pt x="108" y="487"/>
                    </a:lnTo>
                    <a:lnTo>
                      <a:pt x="104" y="486"/>
                    </a:lnTo>
                    <a:lnTo>
                      <a:pt x="100" y="484"/>
                    </a:lnTo>
                    <a:lnTo>
                      <a:pt x="49" y="473"/>
                    </a:lnTo>
                    <a:lnTo>
                      <a:pt x="49" y="473"/>
                    </a:lnTo>
                    <a:lnTo>
                      <a:pt x="47" y="473"/>
                    </a:lnTo>
                    <a:lnTo>
                      <a:pt x="47" y="473"/>
                    </a:lnTo>
                    <a:lnTo>
                      <a:pt x="45" y="473"/>
                    </a:lnTo>
                    <a:lnTo>
                      <a:pt x="122" y="383"/>
                    </a:lnTo>
                    <a:lnTo>
                      <a:pt x="122" y="383"/>
                    </a:lnTo>
                    <a:lnTo>
                      <a:pt x="124" y="380"/>
                    </a:lnTo>
                    <a:lnTo>
                      <a:pt x="124" y="380"/>
                    </a:lnTo>
                    <a:lnTo>
                      <a:pt x="128" y="371"/>
                    </a:lnTo>
                    <a:lnTo>
                      <a:pt x="131" y="360"/>
                    </a:lnTo>
                    <a:lnTo>
                      <a:pt x="135" y="336"/>
                    </a:lnTo>
                    <a:lnTo>
                      <a:pt x="137" y="314"/>
                    </a:lnTo>
                    <a:lnTo>
                      <a:pt x="137" y="297"/>
                    </a:lnTo>
                    <a:lnTo>
                      <a:pt x="137" y="297"/>
                    </a:lnTo>
                    <a:lnTo>
                      <a:pt x="137" y="294"/>
                    </a:lnTo>
                    <a:lnTo>
                      <a:pt x="137" y="294"/>
                    </a:lnTo>
                    <a:lnTo>
                      <a:pt x="133" y="268"/>
                    </a:lnTo>
                    <a:lnTo>
                      <a:pt x="131" y="245"/>
                    </a:lnTo>
                    <a:lnTo>
                      <a:pt x="131" y="224"/>
                    </a:lnTo>
                    <a:lnTo>
                      <a:pt x="133" y="204"/>
                    </a:lnTo>
                    <a:lnTo>
                      <a:pt x="137" y="188"/>
                    </a:lnTo>
                    <a:lnTo>
                      <a:pt x="142" y="172"/>
                    </a:lnTo>
                    <a:lnTo>
                      <a:pt x="148" y="159"/>
                    </a:lnTo>
                    <a:lnTo>
                      <a:pt x="155" y="146"/>
                    </a:lnTo>
                    <a:lnTo>
                      <a:pt x="161" y="135"/>
                    </a:lnTo>
                    <a:lnTo>
                      <a:pt x="168" y="126"/>
                    </a:lnTo>
                    <a:lnTo>
                      <a:pt x="182" y="113"/>
                    </a:lnTo>
                    <a:lnTo>
                      <a:pt x="193" y="106"/>
                    </a:lnTo>
                    <a:lnTo>
                      <a:pt x="199" y="102"/>
                    </a:lnTo>
                    <a:lnTo>
                      <a:pt x="199" y="102"/>
                    </a:lnTo>
                    <a:lnTo>
                      <a:pt x="223" y="88"/>
                    </a:lnTo>
                    <a:lnTo>
                      <a:pt x="246" y="77"/>
                    </a:lnTo>
                    <a:lnTo>
                      <a:pt x="272" y="67"/>
                    </a:lnTo>
                    <a:lnTo>
                      <a:pt x="297" y="58"/>
                    </a:lnTo>
                    <a:lnTo>
                      <a:pt x="321" y="53"/>
                    </a:lnTo>
                    <a:lnTo>
                      <a:pt x="347" y="47"/>
                    </a:lnTo>
                    <a:lnTo>
                      <a:pt x="374" y="46"/>
                    </a:lnTo>
                    <a:lnTo>
                      <a:pt x="400" y="44"/>
                    </a:lnTo>
                    <a:lnTo>
                      <a:pt x="400" y="44"/>
                    </a:lnTo>
                    <a:lnTo>
                      <a:pt x="422" y="46"/>
                    </a:lnTo>
                    <a:lnTo>
                      <a:pt x="442" y="47"/>
                    </a:lnTo>
                    <a:lnTo>
                      <a:pt x="482" y="53"/>
                    </a:lnTo>
                    <a:lnTo>
                      <a:pt x="515" y="62"/>
                    </a:lnTo>
                    <a:lnTo>
                      <a:pt x="546" y="73"/>
                    </a:lnTo>
                    <a:lnTo>
                      <a:pt x="570" y="84"/>
                    </a:lnTo>
                    <a:lnTo>
                      <a:pt x="588" y="93"/>
                    </a:lnTo>
                    <a:lnTo>
                      <a:pt x="602" y="102"/>
                    </a:lnTo>
                    <a:lnTo>
                      <a:pt x="602" y="102"/>
                    </a:lnTo>
                    <a:lnTo>
                      <a:pt x="619" y="115"/>
                    </a:lnTo>
                    <a:lnTo>
                      <a:pt x="633" y="128"/>
                    </a:lnTo>
                    <a:lnTo>
                      <a:pt x="646" y="142"/>
                    </a:lnTo>
                    <a:lnTo>
                      <a:pt x="659" y="155"/>
                    </a:lnTo>
                    <a:lnTo>
                      <a:pt x="668" y="170"/>
                    </a:lnTo>
                    <a:lnTo>
                      <a:pt x="677" y="184"/>
                    </a:lnTo>
                    <a:lnTo>
                      <a:pt x="685" y="199"/>
                    </a:lnTo>
                    <a:lnTo>
                      <a:pt x="692" y="213"/>
                    </a:lnTo>
                    <a:lnTo>
                      <a:pt x="701" y="243"/>
                    </a:lnTo>
                    <a:lnTo>
                      <a:pt x="706" y="272"/>
                    </a:lnTo>
                    <a:lnTo>
                      <a:pt x="706" y="299"/>
                    </a:lnTo>
                    <a:lnTo>
                      <a:pt x="706" y="327"/>
                    </a:lnTo>
                    <a:lnTo>
                      <a:pt x="703" y="352"/>
                    </a:lnTo>
                    <a:lnTo>
                      <a:pt x="697" y="376"/>
                    </a:lnTo>
                    <a:lnTo>
                      <a:pt x="692" y="398"/>
                    </a:lnTo>
                    <a:lnTo>
                      <a:pt x="685" y="418"/>
                    </a:lnTo>
                    <a:lnTo>
                      <a:pt x="672" y="447"/>
                    </a:lnTo>
                    <a:lnTo>
                      <a:pt x="664" y="460"/>
                    </a:lnTo>
                    <a:lnTo>
                      <a:pt x="664" y="460"/>
                    </a:lnTo>
                    <a:lnTo>
                      <a:pt x="650" y="487"/>
                    </a:lnTo>
                    <a:lnTo>
                      <a:pt x="635" y="515"/>
                    </a:lnTo>
                    <a:lnTo>
                      <a:pt x="624" y="542"/>
                    </a:lnTo>
                    <a:lnTo>
                      <a:pt x="613" y="568"/>
                    </a:lnTo>
                    <a:lnTo>
                      <a:pt x="601" y="610"/>
                    </a:lnTo>
                    <a:lnTo>
                      <a:pt x="597" y="628"/>
                    </a:lnTo>
                    <a:lnTo>
                      <a:pt x="597" y="628"/>
                    </a:lnTo>
                    <a:lnTo>
                      <a:pt x="597" y="632"/>
                    </a:lnTo>
                    <a:lnTo>
                      <a:pt x="597" y="632"/>
                    </a:lnTo>
                    <a:lnTo>
                      <a:pt x="595" y="677"/>
                    </a:lnTo>
                    <a:lnTo>
                      <a:pt x="599" y="721"/>
                    </a:lnTo>
                    <a:lnTo>
                      <a:pt x="602" y="763"/>
                    </a:lnTo>
                    <a:lnTo>
                      <a:pt x="608" y="796"/>
                    </a:lnTo>
                    <a:lnTo>
                      <a:pt x="654" y="796"/>
                    </a:lnTo>
                    <a:lnTo>
                      <a:pt x="654" y="796"/>
                    </a:lnTo>
                    <a:lnTo>
                      <a:pt x="648" y="765"/>
                    </a:lnTo>
                    <a:lnTo>
                      <a:pt x="643" y="725"/>
                    </a:lnTo>
                    <a:lnTo>
                      <a:pt x="641" y="681"/>
                    </a:lnTo>
                    <a:lnTo>
                      <a:pt x="641" y="635"/>
                    </a:lnTo>
                    <a:lnTo>
                      <a:pt x="641" y="635"/>
                    </a:lnTo>
                    <a:lnTo>
                      <a:pt x="646" y="615"/>
                    </a:lnTo>
                    <a:lnTo>
                      <a:pt x="659" y="577"/>
                    </a:lnTo>
                    <a:lnTo>
                      <a:pt x="666" y="553"/>
                    </a:lnTo>
                    <a:lnTo>
                      <a:pt x="677" y="529"/>
                    </a:lnTo>
                    <a:lnTo>
                      <a:pt x="688" y="507"/>
                    </a:lnTo>
                    <a:lnTo>
                      <a:pt x="703" y="486"/>
                    </a:lnTo>
                    <a:lnTo>
                      <a:pt x="703" y="486"/>
                    </a:lnTo>
                    <a:lnTo>
                      <a:pt x="703" y="484"/>
                    </a:lnTo>
                    <a:lnTo>
                      <a:pt x="703" y="484"/>
                    </a:lnTo>
                    <a:lnTo>
                      <a:pt x="710" y="473"/>
                    </a:lnTo>
                    <a:lnTo>
                      <a:pt x="723" y="440"/>
                    </a:lnTo>
                    <a:lnTo>
                      <a:pt x="730" y="418"/>
                    </a:lnTo>
                    <a:lnTo>
                      <a:pt x="738" y="394"/>
                    </a:lnTo>
                    <a:lnTo>
                      <a:pt x="745" y="365"/>
                    </a:lnTo>
                    <a:lnTo>
                      <a:pt x="748" y="336"/>
                    </a:lnTo>
                    <a:lnTo>
                      <a:pt x="750" y="303"/>
                    </a:lnTo>
                    <a:lnTo>
                      <a:pt x="750" y="268"/>
                    </a:lnTo>
                    <a:lnTo>
                      <a:pt x="747" y="252"/>
                    </a:lnTo>
                    <a:lnTo>
                      <a:pt x="743" y="234"/>
                    </a:lnTo>
                    <a:lnTo>
                      <a:pt x="739" y="217"/>
                    </a:lnTo>
                    <a:lnTo>
                      <a:pt x="734" y="199"/>
                    </a:lnTo>
                    <a:lnTo>
                      <a:pt x="727" y="182"/>
                    </a:lnTo>
                    <a:lnTo>
                      <a:pt x="717" y="164"/>
                    </a:lnTo>
                    <a:lnTo>
                      <a:pt x="706" y="148"/>
                    </a:lnTo>
                    <a:lnTo>
                      <a:pt x="696" y="130"/>
                    </a:lnTo>
                    <a:lnTo>
                      <a:pt x="681" y="113"/>
                    </a:lnTo>
                    <a:lnTo>
                      <a:pt x="666" y="97"/>
                    </a:lnTo>
                    <a:lnTo>
                      <a:pt x="648" y="82"/>
                    </a:lnTo>
                    <a:lnTo>
                      <a:pt x="628" y="66"/>
                    </a:lnTo>
                    <a:lnTo>
                      <a:pt x="628" y="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A0D96DB5-244B-7748-A62D-AD1696C5EF99}"/>
                </a:ext>
              </a:extLst>
            </p:cNvPr>
            <p:cNvGrpSpPr/>
            <p:nvPr/>
          </p:nvGrpSpPr>
          <p:grpSpPr>
            <a:xfrm>
              <a:off x="10049867" y="874520"/>
              <a:ext cx="994123" cy="781391"/>
              <a:chOff x="9935285" y="1098126"/>
              <a:chExt cx="994123" cy="781391"/>
            </a:xfrm>
          </p:grpSpPr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481DDEEC-6563-C041-9C7B-CE2B9BEB5F80}"/>
                  </a:ext>
                </a:extLst>
              </p:cNvPr>
              <p:cNvGrpSpPr/>
              <p:nvPr/>
            </p:nvGrpSpPr>
            <p:grpSpPr>
              <a:xfrm rot="20643203">
                <a:off x="9935285" y="1098126"/>
                <a:ext cx="994123" cy="781391"/>
                <a:chOff x="1629845" y="2192328"/>
                <a:chExt cx="387508" cy="238428"/>
              </a:xfrm>
              <a:solidFill>
                <a:schemeClr val="tx1"/>
              </a:solidFill>
            </p:grpSpPr>
            <p:sp>
              <p:nvSpPr>
                <p:cNvPr id="48" name="Freeform 196">
                  <a:extLst>
                    <a:ext uri="{FF2B5EF4-FFF2-40B4-BE49-F238E27FC236}">
                      <a16:creationId xmlns:a16="http://schemas.microsoft.com/office/drawing/2014/main" id="{66EE9178-2101-6443-A682-8935B0AFD22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29845" y="2192328"/>
                  <a:ext cx="387508" cy="238428"/>
                </a:xfrm>
                <a:custGeom>
                  <a:avLst/>
                  <a:gdLst>
                    <a:gd name="T0" fmla="*/ 367 w 954"/>
                    <a:gd name="T1" fmla="*/ 525 h 525"/>
                    <a:gd name="T2" fmla="*/ 349 w 954"/>
                    <a:gd name="T3" fmla="*/ 518 h 525"/>
                    <a:gd name="T4" fmla="*/ 329 w 954"/>
                    <a:gd name="T5" fmla="*/ 498 h 525"/>
                    <a:gd name="T6" fmla="*/ 326 w 954"/>
                    <a:gd name="T7" fmla="*/ 487 h 525"/>
                    <a:gd name="T8" fmla="*/ 367 w 954"/>
                    <a:gd name="T9" fmla="*/ 290 h 525"/>
                    <a:gd name="T10" fmla="*/ 291 w 954"/>
                    <a:gd name="T11" fmla="*/ 303 h 525"/>
                    <a:gd name="T12" fmla="*/ 168 w 954"/>
                    <a:gd name="T13" fmla="*/ 312 h 525"/>
                    <a:gd name="T14" fmla="*/ 88 w 954"/>
                    <a:gd name="T15" fmla="*/ 305 h 525"/>
                    <a:gd name="T16" fmla="*/ 37 w 954"/>
                    <a:gd name="T17" fmla="*/ 294 h 525"/>
                    <a:gd name="T18" fmla="*/ 27 w 954"/>
                    <a:gd name="T19" fmla="*/ 285 h 525"/>
                    <a:gd name="T20" fmla="*/ 18 w 954"/>
                    <a:gd name="T21" fmla="*/ 257 h 525"/>
                    <a:gd name="T22" fmla="*/ 19 w 954"/>
                    <a:gd name="T23" fmla="*/ 243 h 525"/>
                    <a:gd name="T24" fmla="*/ 86 w 954"/>
                    <a:gd name="T25" fmla="*/ 218 h 525"/>
                    <a:gd name="T26" fmla="*/ 0 w 954"/>
                    <a:gd name="T27" fmla="*/ 113 h 525"/>
                    <a:gd name="T28" fmla="*/ 6 w 954"/>
                    <a:gd name="T29" fmla="*/ 92 h 525"/>
                    <a:gd name="T30" fmla="*/ 21 w 954"/>
                    <a:gd name="T31" fmla="*/ 80 h 525"/>
                    <a:gd name="T32" fmla="*/ 36 w 954"/>
                    <a:gd name="T33" fmla="*/ 80 h 525"/>
                    <a:gd name="T34" fmla="*/ 721 w 954"/>
                    <a:gd name="T35" fmla="*/ 15 h 525"/>
                    <a:gd name="T36" fmla="*/ 790 w 954"/>
                    <a:gd name="T37" fmla="*/ 2 h 525"/>
                    <a:gd name="T38" fmla="*/ 862 w 954"/>
                    <a:gd name="T39" fmla="*/ 2 h 525"/>
                    <a:gd name="T40" fmla="*/ 903 w 954"/>
                    <a:gd name="T41" fmla="*/ 12 h 525"/>
                    <a:gd name="T42" fmla="*/ 926 w 954"/>
                    <a:gd name="T43" fmla="*/ 23 h 525"/>
                    <a:gd name="T44" fmla="*/ 940 w 954"/>
                    <a:gd name="T45" fmla="*/ 36 h 525"/>
                    <a:gd name="T46" fmla="*/ 949 w 954"/>
                    <a:gd name="T47" fmla="*/ 51 h 525"/>
                    <a:gd name="T48" fmla="*/ 954 w 954"/>
                    <a:gd name="T49" fmla="*/ 94 h 525"/>
                    <a:gd name="T50" fmla="*/ 949 w 954"/>
                    <a:gd name="T51" fmla="*/ 120 h 525"/>
                    <a:gd name="T52" fmla="*/ 939 w 954"/>
                    <a:gd name="T53" fmla="*/ 136 h 525"/>
                    <a:gd name="T54" fmla="*/ 908 w 954"/>
                    <a:gd name="T55" fmla="*/ 154 h 525"/>
                    <a:gd name="T56" fmla="*/ 483 w 954"/>
                    <a:gd name="T57" fmla="*/ 451 h 525"/>
                    <a:gd name="T58" fmla="*/ 467 w 954"/>
                    <a:gd name="T59" fmla="*/ 469 h 525"/>
                    <a:gd name="T60" fmla="*/ 424 w 954"/>
                    <a:gd name="T61" fmla="*/ 507 h 525"/>
                    <a:gd name="T62" fmla="*/ 386 w 954"/>
                    <a:gd name="T63" fmla="*/ 523 h 525"/>
                    <a:gd name="T64" fmla="*/ 367 w 954"/>
                    <a:gd name="T65" fmla="*/ 482 h 525"/>
                    <a:gd name="T66" fmla="*/ 373 w 954"/>
                    <a:gd name="T67" fmla="*/ 485 h 525"/>
                    <a:gd name="T68" fmla="*/ 388 w 954"/>
                    <a:gd name="T69" fmla="*/ 482 h 525"/>
                    <a:gd name="T70" fmla="*/ 419 w 954"/>
                    <a:gd name="T71" fmla="*/ 461 h 525"/>
                    <a:gd name="T72" fmla="*/ 614 w 954"/>
                    <a:gd name="T73" fmla="*/ 194 h 525"/>
                    <a:gd name="T74" fmla="*/ 626 w 954"/>
                    <a:gd name="T75" fmla="*/ 187 h 525"/>
                    <a:gd name="T76" fmla="*/ 903 w 954"/>
                    <a:gd name="T77" fmla="*/ 115 h 525"/>
                    <a:gd name="T78" fmla="*/ 911 w 954"/>
                    <a:gd name="T79" fmla="*/ 108 h 525"/>
                    <a:gd name="T80" fmla="*/ 914 w 954"/>
                    <a:gd name="T81" fmla="*/ 85 h 525"/>
                    <a:gd name="T82" fmla="*/ 837 w 954"/>
                    <a:gd name="T83" fmla="*/ 92 h 525"/>
                    <a:gd name="T84" fmla="*/ 816 w 954"/>
                    <a:gd name="T85" fmla="*/ 84 h 525"/>
                    <a:gd name="T86" fmla="*/ 813 w 954"/>
                    <a:gd name="T87" fmla="*/ 69 h 525"/>
                    <a:gd name="T88" fmla="*/ 827 w 954"/>
                    <a:gd name="T89" fmla="*/ 53 h 525"/>
                    <a:gd name="T90" fmla="*/ 852 w 954"/>
                    <a:gd name="T91" fmla="*/ 39 h 525"/>
                    <a:gd name="T92" fmla="*/ 793 w 954"/>
                    <a:gd name="T93" fmla="*/ 41 h 525"/>
                    <a:gd name="T94" fmla="*/ 203 w 954"/>
                    <a:gd name="T95" fmla="*/ 184 h 525"/>
                    <a:gd name="T96" fmla="*/ 191 w 954"/>
                    <a:gd name="T97" fmla="*/ 184 h 525"/>
                    <a:gd name="T98" fmla="*/ 137 w 954"/>
                    <a:gd name="T99" fmla="*/ 216 h 525"/>
                    <a:gd name="T100" fmla="*/ 142 w 954"/>
                    <a:gd name="T101" fmla="*/ 230 h 525"/>
                    <a:gd name="T102" fmla="*/ 139 w 954"/>
                    <a:gd name="T103" fmla="*/ 239 h 525"/>
                    <a:gd name="T104" fmla="*/ 127 w 954"/>
                    <a:gd name="T105" fmla="*/ 248 h 525"/>
                    <a:gd name="T106" fmla="*/ 95 w 954"/>
                    <a:gd name="T107" fmla="*/ 267 h 525"/>
                    <a:gd name="T108" fmla="*/ 167 w 954"/>
                    <a:gd name="T109" fmla="*/ 272 h 525"/>
                    <a:gd name="T110" fmla="*/ 298 w 954"/>
                    <a:gd name="T111" fmla="*/ 262 h 525"/>
                    <a:gd name="T112" fmla="*/ 424 w 954"/>
                    <a:gd name="T113" fmla="*/ 236 h 525"/>
                    <a:gd name="T114" fmla="*/ 434 w 954"/>
                    <a:gd name="T115" fmla="*/ 236 h 525"/>
                    <a:gd name="T116" fmla="*/ 444 w 954"/>
                    <a:gd name="T117" fmla="*/ 243 h 525"/>
                    <a:gd name="T118" fmla="*/ 449 w 954"/>
                    <a:gd name="T119" fmla="*/ 257 h 5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54" h="525">
                      <a:moveTo>
                        <a:pt x="375" y="525"/>
                      </a:moveTo>
                      <a:lnTo>
                        <a:pt x="375" y="525"/>
                      </a:lnTo>
                      <a:lnTo>
                        <a:pt x="367" y="525"/>
                      </a:lnTo>
                      <a:lnTo>
                        <a:pt x="367" y="525"/>
                      </a:lnTo>
                      <a:lnTo>
                        <a:pt x="357" y="521"/>
                      </a:lnTo>
                      <a:lnTo>
                        <a:pt x="349" y="518"/>
                      </a:lnTo>
                      <a:lnTo>
                        <a:pt x="342" y="513"/>
                      </a:lnTo>
                      <a:lnTo>
                        <a:pt x="337" y="508"/>
                      </a:lnTo>
                      <a:lnTo>
                        <a:pt x="329" y="498"/>
                      </a:lnTo>
                      <a:lnTo>
                        <a:pt x="327" y="493"/>
                      </a:lnTo>
                      <a:lnTo>
                        <a:pt x="327" y="493"/>
                      </a:lnTo>
                      <a:lnTo>
                        <a:pt x="326" y="487"/>
                      </a:lnTo>
                      <a:lnTo>
                        <a:pt x="326" y="479"/>
                      </a:lnTo>
                      <a:lnTo>
                        <a:pt x="398" y="284"/>
                      </a:lnTo>
                      <a:lnTo>
                        <a:pt x="367" y="290"/>
                      </a:lnTo>
                      <a:lnTo>
                        <a:pt x="367" y="290"/>
                      </a:lnTo>
                      <a:lnTo>
                        <a:pt x="329" y="298"/>
                      </a:lnTo>
                      <a:lnTo>
                        <a:pt x="291" y="303"/>
                      </a:lnTo>
                      <a:lnTo>
                        <a:pt x="245" y="308"/>
                      </a:lnTo>
                      <a:lnTo>
                        <a:pt x="195" y="312"/>
                      </a:lnTo>
                      <a:lnTo>
                        <a:pt x="168" y="312"/>
                      </a:lnTo>
                      <a:lnTo>
                        <a:pt x="141" y="310"/>
                      </a:lnTo>
                      <a:lnTo>
                        <a:pt x="114" y="308"/>
                      </a:lnTo>
                      <a:lnTo>
                        <a:pt x="88" y="305"/>
                      </a:lnTo>
                      <a:lnTo>
                        <a:pt x="62" y="300"/>
                      </a:lnTo>
                      <a:lnTo>
                        <a:pt x="37" y="294"/>
                      </a:lnTo>
                      <a:lnTo>
                        <a:pt x="37" y="294"/>
                      </a:lnTo>
                      <a:lnTo>
                        <a:pt x="32" y="292"/>
                      </a:lnTo>
                      <a:lnTo>
                        <a:pt x="29" y="289"/>
                      </a:lnTo>
                      <a:lnTo>
                        <a:pt x="27" y="285"/>
                      </a:lnTo>
                      <a:lnTo>
                        <a:pt x="24" y="280"/>
                      </a:lnTo>
                      <a:lnTo>
                        <a:pt x="18" y="257"/>
                      </a:lnTo>
                      <a:lnTo>
                        <a:pt x="18" y="257"/>
                      </a:lnTo>
                      <a:lnTo>
                        <a:pt x="18" y="249"/>
                      </a:lnTo>
                      <a:lnTo>
                        <a:pt x="19" y="243"/>
                      </a:lnTo>
                      <a:lnTo>
                        <a:pt x="19" y="243"/>
                      </a:lnTo>
                      <a:lnTo>
                        <a:pt x="24" y="236"/>
                      </a:lnTo>
                      <a:lnTo>
                        <a:pt x="32" y="233"/>
                      </a:lnTo>
                      <a:lnTo>
                        <a:pt x="86" y="218"/>
                      </a:lnTo>
                      <a:lnTo>
                        <a:pt x="4" y="120"/>
                      </a:lnTo>
                      <a:lnTo>
                        <a:pt x="4" y="120"/>
                      </a:lnTo>
                      <a:lnTo>
                        <a:pt x="0" y="113"/>
                      </a:lnTo>
                      <a:lnTo>
                        <a:pt x="0" y="107"/>
                      </a:lnTo>
                      <a:lnTo>
                        <a:pt x="1" y="98"/>
                      </a:lnTo>
                      <a:lnTo>
                        <a:pt x="6" y="92"/>
                      </a:lnTo>
                      <a:lnTo>
                        <a:pt x="16" y="84"/>
                      </a:lnTo>
                      <a:lnTo>
                        <a:pt x="16" y="84"/>
                      </a:lnTo>
                      <a:lnTo>
                        <a:pt x="21" y="80"/>
                      </a:lnTo>
                      <a:lnTo>
                        <a:pt x="26" y="79"/>
                      </a:lnTo>
                      <a:lnTo>
                        <a:pt x="31" y="79"/>
                      </a:lnTo>
                      <a:lnTo>
                        <a:pt x="36" y="80"/>
                      </a:lnTo>
                      <a:lnTo>
                        <a:pt x="200" y="144"/>
                      </a:lnTo>
                      <a:lnTo>
                        <a:pt x="721" y="15"/>
                      </a:lnTo>
                      <a:lnTo>
                        <a:pt x="721" y="15"/>
                      </a:lnTo>
                      <a:lnTo>
                        <a:pt x="742" y="10"/>
                      </a:lnTo>
                      <a:lnTo>
                        <a:pt x="763" y="5"/>
                      </a:lnTo>
                      <a:lnTo>
                        <a:pt x="790" y="2"/>
                      </a:lnTo>
                      <a:lnTo>
                        <a:pt x="817" y="0"/>
                      </a:lnTo>
                      <a:lnTo>
                        <a:pt x="847" y="0"/>
                      </a:lnTo>
                      <a:lnTo>
                        <a:pt x="862" y="2"/>
                      </a:lnTo>
                      <a:lnTo>
                        <a:pt x="877" y="3"/>
                      </a:lnTo>
                      <a:lnTo>
                        <a:pt x="890" y="7"/>
                      </a:lnTo>
                      <a:lnTo>
                        <a:pt x="903" y="12"/>
                      </a:lnTo>
                      <a:lnTo>
                        <a:pt x="903" y="12"/>
                      </a:lnTo>
                      <a:lnTo>
                        <a:pt x="914" y="18"/>
                      </a:lnTo>
                      <a:lnTo>
                        <a:pt x="926" y="23"/>
                      </a:lnTo>
                      <a:lnTo>
                        <a:pt x="934" y="30"/>
                      </a:lnTo>
                      <a:lnTo>
                        <a:pt x="940" y="36"/>
                      </a:lnTo>
                      <a:lnTo>
                        <a:pt x="940" y="36"/>
                      </a:lnTo>
                      <a:lnTo>
                        <a:pt x="945" y="43"/>
                      </a:lnTo>
                      <a:lnTo>
                        <a:pt x="945" y="43"/>
                      </a:lnTo>
                      <a:lnTo>
                        <a:pt x="949" y="51"/>
                      </a:lnTo>
                      <a:lnTo>
                        <a:pt x="949" y="51"/>
                      </a:lnTo>
                      <a:lnTo>
                        <a:pt x="954" y="74"/>
                      </a:lnTo>
                      <a:lnTo>
                        <a:pt x="954" y="94"/>
                      </a:lnTo>
                      <a:lnTo>
                        <a:pt x="954" y="103"/>
                      </a:lnTo>
                      <a:lnTo>
                        <a:pt x="952" y="112"/>
                      </a:lnTo>
                      <a:lnTo>
                        <a:pt x="949" y="120"/>
                      </a:lnTo>
                      <a:lnTo>
                        <a:pt x="945" y="126"/>
                      </a:lnTo>
                      <a:lnTo>
                        <a:pt x="945" y="126"/>
                      </a:lnTo>
                      <a:lnTo>
                        <a:pt x="939" y="136"/>
                      </a:lnTo>
                      <a:lnTo>
                        <a:pt x="931" y="144"/>
                      </a:lnTo>
                      <a:lnTo>
                        <a:pt x="919" y="151"/>
                      </a:lnTo>
                      <a:lnTo>
                        <a:pt x="908" y="154"/>
                      </a:lnTo>
                      <a:lnTo>
                        <a:pt x="642" y="223"/>
                      </a:lnTo>
                      <a:lnTo>
                        <a:pt x="483" y="451"/>
                      </a:lnTo>
                      <a:lnTo>
                        <a:pt x="483" y="451"/>
                      </a:lnTo>
                      <a:lnTo>
                        <a:pt x="481" y="452"/>
                      </a:lnTo>
                      <a:lnTo>
                        <a:pt x="481" y="452"/>
                      </a:lnTo>
                      <a:lnTo>
                        <a:pt x="467" y="469"/>
                      </a:lnTo>
                      <a:lnTo>
                        <a:pt x="452" y="484"/>
                      </a:lnTo>
                      <a:lnTo>
                        <a:pt x="439" y="497"/>
                      </a:lnTo>
                      <a:lnTo>
                        <a:pt x="424" y="507"/>
                      </a:lnTo>
                      <a:lnTo>
                        <a:pt x="411" y="515"/>
                      </a:lnTo>
                      <a:lnTo>
                        <a:pt x="400" y="520"/>
                      </a:lnTo>
                      <a:lnTo>
                        <a:pt x="386" y="523"/>
                      </a:lnTo>
                      <a:lnTo>
                        <a:pt x="375" y="525"/>
                      </a:lnTo>
                      <a:lnTo>
                        <a:pt x="375" y="525"/>
                      </a:lnTo>
                      <a:close/>
                      <a:moveTo>
                        <a:pt x="367" y="482"/>
                      </a:moveTo>
                      <a:lnTo>
                        <a:pt x="367" y="482"/>
                      </a:lnTo>
                      <a:lnTo>
                        <a:pt x="370" y="484"/>
                      </a:lnTo>
                      <a:lnTo>
                        <a:pt x="373" y="485"/>
                      </a:lnTo>
                      <a:lnTo>
                        <a:pt x="373" y="485"/>
                      </a:lnTo>
                      <a:lnTo>
                        <a:pt x="381" y="485"/>
                      </a:lnTo>
                      <a:lnTo>
                        <a:pt x="388" y="482"/>
                      </a:lnTo>
                      <a:lnTo>
                        <a:pt x="396" y="479"/>
                      </a:lnTo>
                      <a:lnTo>
                        <a:pt x="408" y="471"/>
                      </a:lnTo>
                      <a:lnTo>
                        <a:pt x="419" y="461"/>
                      </a:lnTo>
                      <a:lnTo>
                        <a:pt x="434" y="446"/>
                      </a:lnTo>
                      <a:lnTo>
                        <a:pt x="450" y="428"/>
                      </a:lnTo>
                      <a:lnTo>
                        <a:pt x="614" y="194"/>
                      </a:lnTo>
                      <a:lnTo>
                        <a:pt x="614" y="194"/>
                      </a:lnTo>
                      <a:lnTo>
                        <a:pt x="619" y="189"/>
                      </a:lnTo>
                      <a:lnTo>
                        <a:pt x="626" y="187"/>
                      </a:lnTo>
                      <a:lnTo>
                        <a:pt x="898" y="116"/>
                      </a:lnTo>
                      <a:lnTo>
                        <a:pt x="898" y="116"/>
                      </a:lnTo>
                      <a:lnTo>
                        <a:pt x="903" y="115"/>
                      </a:lnTo>
                      <a:lnTo>
                        <a:pt x="908" y="113"/>
                      </a:lnTo>
                      <a:lnTo>
                        <a:pt x="911" y="108"/>
                      </a:lnTo>
                      <a:lnTo>
                        <a:pt x="911" y="108"/>
                      </a:lnTo>
                      <a:lnTo>
                        <a:pt x="913" y="103"/>
                      </a:lnTo>
                      <a:lnTo>
                        <a:pt x="914" y="95"/>
                      </a:lnTo>
                      <a:lnTo>
                        <a:pt x="914" y="85"/>
                      </a:lnTo>
                      <a:lnTo>
                        <a:pt x="913" y="72"/>
                      </a:lnTo>
                      <a:lnTo>
                        <a:pt x="837" y="92"/>
                      </a:lnTo>
                      <a:lnTo>
                        <a:pt x="837" y="92"/>
                      </a:lnTo>
                      <a:lnTo>
                        <a:pt x="829" y="92"/>
                      </a:lnTo>
                      <a:lnTo>
                        <a:pt x="822" y="89"/>
                      </a:lnTo>
                      <a:lnTo>
                        <a:pt x="816" y="84"/>
                      </a:lnTo>
                      <a:lnTo>
                        <a:pt x="813" y="77"/>
                      </a:lnTo>
                      <a:lnTo>
                        <a:pt x="813" y="77"/>
                      </a:lnTo>
                      <a:lnTo>
                        <a:pt x="813" y="69"/>
                      </a:lnTo>
                      <a:lnTo>
                        <a:pt x="816" y="62"/>
                      </a:lnTo>
                      <a:lnTo>
                        <a:pt x="821" y="56"/>
                      </a:lnTo>
                      <a:lnTo>
                        <a:pt x="827" y="53"/>
                      </a:lnTo>
                      <a:lnTo>
                        <a:pt x="870" y="43"/>
                      </a:lnTo>
                      <a:lnTo>
                        <a:pt x="870" y="43"/>
                      </a:lnTo>
                      <a:lnTo>
                        <a:pt x="852" y="39"/>
                      </a:lnTo>
                      <a:lnTo>
                        <a:pt x="832" y="39"/>
                      </a:lnTo>
                      <a:lnTo>
                        <a:pt x="813" y="39"/>
                      </a:lnTo>
                      <a:lnTo>
                        <a:pt x="793" y="41"/>
                      </a:lnTo>
                      <a:lnTo>
                        <a:pt x="757" y="46"/>
                      </a:lnTo>
                      <a:lnTo>
                        <a:pt x="731" y="53"/>
                      </a:lnTo>
                      <a:lnTo>
                        <a:pt x="203" y="184"/>
                      </a:lnTo>
                      <a:lnTo>
                        <a:pt x="203" y="184"/>
                      </a:lnTo>
                      <a:lnTo>
                        <a:pt x="196" y="185"/>
                      </a:lnTo>
                      <a:lnTo>
                        <a:pt x="191" y="184"/>
                      </a:lnTo>
                      <a:lnTo>
                        <a:pt x="68" y="135"/>
                      </a:lnTo>
                      <a:lnTo>
                        <a:pt x="137" y="216"/>
                      </a:lnTo>
                      <a:lnTo>
                        <a:pt x="137" y="216"/>
                      </a:lnTo>
                      <a:lnTo>
                        <a:pt x="139" y="221"/>
                      </a:lnTo>
                      <a:lnTo>
                        <a:pt x="141" y="225"/>
                      </a:lnTo>
                      <a:lnTo>
                        <a:pt x="142" y="230"/>
                      </a:lnTo>
                      <a:lnTo>
                        <a:pt x="141" y="234"/>
                      </a:lnTo>
                      <a:lnTo>
                        <a:pt x="141" y="234"/>
                      </a:lnTo>
                      <a:lnTo>
                        <a:pt x="139" y="239"/>
                      </a:lnTo>
                      <a:lnTo>
                        <a:pt x="136" y="243"/>
                      </a:lnTo>
                      <a:lnTo>
                        <a:pt x="131" y="246"/>
                      </a:lnTo>
                      <a:lnTo>
                        <a:pt x="127" y="248"/>
                      </a:lnTo>
                      <a:lnTo>
                        <a:pt x="73" y="262"/>
                      </a:lnTo>
                      <a:lnTo>
                        <a:pt x="73" y="262"/>
                      </a:lnTo>
                      <a:lnTo>
                        <a:pt x="95" y="267"/>
                      </a:lnTo>
                      <a:lnTo>
                        <a:pt x="119" y="269"/>
                      </a:lnTo>
                      <a:lnTo>
                        <a:pt x="142" y="271"/>
                      </a:lnTo>
                      <a:lnTo>
                        <a:pt x="167" y="272"/>
                      </a:lnTo>
                      <a:lnTo>
                        <a:pt x="214" y="271"/>
                      </a:lnTo>
                      <a:lnTo>
                        <a:pt x="259" y="267"/>
                      </a:lnTo>
                      <a:lnTo>
                        <a:pt x="298" y="262"/>
                      </a:lnTo>
                      <a:lnTo>
                        <a:pt x="329" y="257"/>
                      </a:lnTo>
                      <a:lnTo>
                        <a:pt x="357" y="253"/>
                      </a:lnTo>
                      <a:lnTo>
                        <a:pt x="424" y="236"/>
                      </a:lnTo>
                      <a:lnTo>
                        <a:pt x="424" y="236"/>
                      </a:lnTo>
                      <a:lnTo>
                        <a:pt x="429" y="236"/>
                      </a:lnTo>
                      <a:lnTo>
                        <a:pt x="434" y="236"/>
                      </a:lnTo>
                      <a:lnTo>
                        <a:pt x="439" y="239"/>
                      </a:lnTo>
                      <a:lnTo>
                        <a:pt x="444" y="243"/>
                      </a:lnTo>
                      <a:lnTo>
                        <a:pt x="444" y="243"/>
                      </a:lnTo>
                      <a:lnTo>
                        <a:pt x="447" y="246"/>
                      </a:lnTo>
                      <a:lnTo>
                        <a:pt x="449" y="251"/>
                      </a:lnTo>
                      <a:lnTo>
                        <a:pt x="449" y="257"/>
                      </a:lnTo>
                      <a:lnTo>
                        <a:pt x="447" y="262"/>
                      </a:lnTo>
                      <a:lnTo>
                        <a:pt x="367" y="48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49" name="Freeform 197">
                  <a:extLst>
                    <a:ext uri="{FF2B5EF4-FFF2-40B4-BE49-F238E27FC236}">
                      <a16:creationId xmlns:a16="http://schemas.microsoft.com/office/drawing/2014/main" id="{266387E2-C52F-B943-BBF8-9E89EDD5F8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2915" y="2215104"/>
                  <a:ext cx="114169" cy="36471"/>
                </a:xfrm>
                <a:custGeom>
                  <a:avLst/>
                  <a:gdLst>
                    <a:gd name="T0" fmla="*/ 77 w 289"/>
                    <a:gd name="T1" fmla="*/ 40 h 92"/>
                    <a:gd name="T2" fmla="*/ 77 w 289"/>
                    <a:gd name="T3" fmla="*/ 40 h 92"/>
                    <a:gd name="T4" fmla="*/ 90 w 289"/>
                    <a:gd name="T5" fmla="*/ 40 h 92"/>
                    <a:gd name="T6" fmla="*/ 90 w 289"/>
                    <a:gd name="T7" fmla="*/ 40 h 92"/>
                    <a:gd name="T8" fmla="*/ 125 w 289"/>
                    <a:gd name="T9" fmla="*/ 41 h 92"/>
                    <a:gd name="T10" fmla="*/ 159 w 289"/>
                    <a:gd name="T11" fmla="*/ 46 h 92"/>
                    <a:gd name="T12" fmla="*/ 190 w 289"/>
                    <a:gd name="T13" fmla="*/ 53 h 92"/>
                    <a:gd name="T14" fmla="*/ 218 w 289"/>
                    <a:gd name="T15" fmla="*/ 59 h 92"/>
                    <a:gd name="T16" fmla="*/ 289 w 289"/>
                    <a:gd name="T17" fmla="*/ 43 h 92"/>
                    <a:gd name="T18" fmla="*/ 289 w 289"/>
                    <a:gd name="T19" fmla="*/ 43 h 92"/>
                    <a:gd name="T20" fmla="*/ 258 w 289"/>
                    <a:gd name="T21" fmla="*/ 32 h 92"/>
                    <a:gd name="T22" fmla="*/ 236 w 289"/>
                    <a:gd name="T23" fmla="*/ 25 h 92"/>
                    <a:gd name="T24" fmla="*/ 212 w 289"/>
                    <a:gd name="T25" fmla="*/ 17 h 92"/>
                    <a:gd name="T26" fmla="*/ 184 w 289"/>
                    <a:gd name="T27" fmla="*/ 10 h 92"/>
                    <a:gd name="T28" fmla="*/ 154 w 289"/>
                    <a:gd name="T29" fmla="*/ 5 h 92"/>
                    <a:gd name="T30" fmla="*/ 123 w 289"/>
                    <a:gd name="T31" fmla="*/ 2 h 92"/>
                    <a:gd name="T32" fmla="*/ 90 w 289"/>
                    <a:gd name="T33" fmla="*/ 0 h 92"/>
                    <a:gd name="T34" fmla="*/ 90 w 289"/>
                    <a:gd name="T35" fmla="*/ 0 h 92"/>
                    <a:gd name="T36" fmla="*/ 71 w 289"/>
                    <a:gd name="T37" fmla="*/ 0 h 92"/>
                    <a:gd name="T38" fmla="*/ 51 w 289"/>
                    <a:gd name="T39" fmla="*/ 2 h 92"/>
                    <a:gd name="T40" fmla="*/ 33 w 289"/>
                    <a:gd name="T41" fmla="*/ 5 h 92"/>
                    <a:gd name="T42" fmla="*/ 15 w 289"/>
                    <a:gd name="T43" fmla="*/ 9 h 92"/>
                    <a:gd name="T44" fmla="*/ 15 w 289"/>
                    <a:gd name="T45" fmla="*/ 9 h 92"/>
                    <a:gd name="T46" fmla="*/ 10 w 289"/>
                    <a:gd name="T47" fmla="*/ 12 h 92"/>
                    <a:gd name="T48" fmla="*/ 5 w 289"/>
                    <a:gd name="T49" fmla="*/ 15 h 92"/>
                    <a:gd name="T50" fmla="*/ 2 w 289"/>
                    <a:gd name="T51" fmla="*/ 20 h 92"/>
                    <a:gd name="T52" fmla="*/ 0 w 289"/>
                    <a:gd name="T53" fmla="*/ 25 h 92"/>
                    <a:gd name="T54" fmla="*/ 0 w 289"/>
                    <a:gd name="T55" fmla="*/ 25 h 92"/>
                    <a:gd name="T56" fmla="*/ 0 w 289"/>
                    <a:gd name="T57" fmla="*/ 32 h 92"/>
                    <a:gd name="T58" fmla="*/ 2 w 289"/>
                    <a:gd name="T59" fmla="*/ 37 h 92"/>
                    <a:gd name="T60" fmla="*/ 5 w 289"/>
                    <a:gd name="T61" fmla="*/ 41 h 92"/>
                    <a:gd name="T62" fmla="*/ 10 w 289"/>
                    <a:gd name="T63" fmla="*/ 45 h 92"/>
                    <a:gd name="T64" fmla="*/ 89 w 289"/>
                    <a:gd name="T65" fmla="*/ 92 h 92"/>
                    <a:gd name="T66" fmla="*/ 141 w 289"/>
                    <a:gd name="T67" fmla="*/ 79 h 92"/>
                    <a:gd name="T68" fmla="*/ 77 w 289"/>
                    <a:gd name="T69" fmla="*/ 40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89" h="92">
                      <a:moveTo>
                        <a:pt x="77" y="40"/>
                      </a:moveTo>
                      <a:lnTo>
                        <a:pt x="77" y="40"/>
                      </a:lnTo>
                      <a:lnTo>
                        <a:pt x="90" y="40"/>
                      </a:lnTo>
                      <a:lnTo>
                        <a:pt x="90" y="40"/>
                      </a:lnTo>
                      <a:lnTo>
                        <a:pt x="125" y="41"/>
                      </a:lnTo>
                      <a:lnTo>
                        <a:pt x="159" y="46"/>
                      </a:lnTo>
                      <a:lnTo>
                        <a:pt x="190" y="53"/>
                      </a:lnTo>
                      <a:lnTo>
                        <a:pt x="218" y="59"/>
                      </a:lnTo>
                      <a:lnTo>
                        <a:pt x="289" y="43"/>
                      </a:lnTo>
                      <a:lnTo>
                        <a:pt x="289" y="43"/>
                      </a:lnTo>
                      <a:lnTo>
                        <a:pt x="258" y="32"/>
                      </a:lnTo>
                      <a:lnTo>
                        <a:pt x="236" y="25"/>
                      </a:lnTo>
                      <a:lnTo>
                        <a:pt x="212" y="17"/>
                      </a:lnTo>
                      <a:lnTo>
                        <a:pt x="184" y="10"/>
                      </a:lnTo>
                      <a:lnTo>
                        <a:pt x="154" y="5"/>
                      </a:lnTo>
                      <a:lnTo>
                        <a:pt x="123" y="2"/>
                      </a:lnTo>
                      <a:lnTo>
                        <a:pt x="90" y="0"/>
                      </a:lnTo>
                      <a:lnTo>
                        <a:pt x="90" y="0"/>
                      </a:lnTo>
                      <a:lnTo>
                        <a:pt x="71" y="0"/>
                      </a:lnTo>
                      <a:lnTo>
                        <a:pt x="51" y="2"/>
                      </a:lnTo>
                      <a:lnTo>
                        <a:pt x="33" y="5"/>
                      </a:lnTo>
                      <a:lnTo>
                        <a:pt x="15" y="9"/>
                      </a:lnTo>
                      <a:lnTo>
                        <a:pt x="15" y="9"/>
                      </a:lnTo>
                      <a:lnTo>
                        <a:pt x="10" y="12"/>
                      </a:lnTo>
                      <a:lnTo>
                        <a:pt x="5" y="15"/>
                      </a:lnTo>
                      <a:lnTo>
                        <a:pt x="2" y="20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32"/>
                      </a:lnTo>
                      <a:lnTo>
                        <a:pt x="2" y="37"/>
                      </a:lnTo>
                      <a:lnTo>
                        <a:pt x="5" y="41"/>
                      </a:lnTo>
                      <a:lnTo>
                        <a:pt x="10" y="45"/>
                      </a:lnTo>
                      <a:lnTo>
                        <a:pt x="89" y="92"/>
                      </a:lnTo>
                      <a:lnTo>
                        <a:pt x="141" y="79"/>
                      </a:lnTo>
                      <a:lnTo>
                        <a:pt x="77" y="4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9257D002-0C81-394E-9A34-8569E0BFC0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9306851">
                <a:off x="10304842" y="1236318"/>
                <a:ext cx="319583" cy="134325"/>
              </a:xfrm>
              <a:prstGeom prst="rect">
                <a:avLst/>
              </a:prstGeom>
            </p:spPr>
          </p:pic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437" y="215751"/>
            <a:ext cx="10512425" cy="755630"/>
          </a:xfrm>
        </p:spPr>
        <p:txBody>
          <a:bodyPr/>
          <a:lstStyle/>
          <a:p>
            <a:r>
              <a:rPr lang="en-US" sz="3600" dirty="0">
                <a:solidFill>
                  <a:schemeClr val="bg1"/>
                </a:solidFill>
                <a:latin typeface="TUITypeLight" panose="020B0304020202090203" pitchFamily="34" charset="0"/>
              </a:rPr>
              <a:t>Our Transformation Journey</a:t>
            </a:r>
          </a:p>
        </p:txBody>
      </p:sp>
      <p:sp>
        <p:nvSpPr>
          <p:cNvPr id="50" name="Freihandform: Form 31">
            <a:extLst>
              <a:ext uri="{FF2B5EF4-FFF2-40B4-BE49-F238E27FC236}">
                <a16:creationId xmlns:a16="http://schemas.microsoft.com/office/drawing/2014/main" id="{1AF62950-2D07-704C-995C-0EB51D9EB239}"/>
              </a:ext>
            </a:extLst>
          </p:cNvPr>
          <p:cNvSpPr>
            <a:spLocks/>
          </p:cNvSpPr>
          <p:nvPr/>
        </p:nvSpPr>
        <p:spPr bwMode="auto">
          <a:xfrm>
            <a:off x="7663106" y="4995293"/>
            <a:ext cx="402187" cy="334782"/>
          </a:xfrm>
          <a:custGeom>
            <a:avLst/>
            <a:gdLst>
              <a:gd name="connsiteX0" fmla="*/ 3067928 w 8240712"/>
              <a:gd name="connsiteY0" fmla="*/ 3789363 h 6859588"/>
              <a:gd name="connsiteX1" fmla="*/ 3208523 w 8240712"/>
              <a:gd name="connsiteY1" fmla="*/ 3817549 h 6859588"/>
              <a:gd name="connsiteX2" fmla="*/ 3313969 w 8240712"/>
              <a:gd name="connsiteY2" fmla="*/ 3905631 h 6859588"/>
              <a:gd name="connsiteX3" fmla="*/ 3380752 w 8240712"/>
              <a:gd name="connsiteY3" fmla="*/ 4057131 h 6859588"/>
              <a:gd name="connsiteX4" fmla="*/ 3403599 w 8240712"/>
              <a:gd name="connsiteY4" fmla="*/ 4273812 h 6859588"/>
              <a:gd name="connsiteX5" fmla="*/ 3373723 w 8240712"/>
              <a:gd name="connsiteY5" fmla="*/ 4511632 h 6859588"/>
              <a:gd name="connsiteX6" fmla="*/ 3264761 w 8240712"/>
              <a:gd name="connsiteY6" fmla="*/ 4689557 h 6859588"/>
              <a:gd name="connsiteX7" fmla="*/ 3067928 w 8240712"/>
              <a:gd name="connsiteY7" fmla="*/ 4752976 h 6859588"/>
              <a:gd name="connsiteX8" fmla="*/ 2925575 w 8240712"/>
              <a:gd name="connsiteY8" fmla="*/ 4724790 h 6859588"/>
              <a:gd name="connsiteX9" fmla="*/ 2820129 w 8240712"/>
              <a:gd name="connsiteY9" fmla="*/ 4638470 h 6859588"/>
              <a:gd name="connsiteX10" fmla="*/ 2753346 w 8240712"/>
              <a:gd name="connsiteY10" fmla="*/ 4488731 h 6859588"/>
              <a:gd name="connsiteX11" fmla="*/ 2730499 w 8240712"/>
              <a:gd name="connsiteY11" fmla="*/ 4273812 h 6859588"/>
              <a:gd name="connsiteX12" fmla="*/ 2753346 w 8240712"/>
              <a:gd name="connsiteY12" fmla="*/ 4057131 h 6859588"/>
              <a:gd name="connsiteX13" fmla="*/ 2820129 w 8240712"/>
              <a:gd name="connsiteY13" fmla="*/ 3905631 h 6859588"/>
              <a:gd name="connsiteX14" fmla="*/ 2925575 w 8240712"/>
              <a:gd name="connsiteY14" fmla="*/ 3817549 h 6859588"/>
              <a:gd name="connsiteX15" fmla="*/ 3067928 w 8240712"/>
              <a:gd name="connsiteY15" fmla="*/ 3789363 h 6859588"/>
              <a:gd name="connsiteX16" fmla="*/ 5279008 w 8240712"/>
              <a:gd name="connsiteY16" fmla="*/ 3541713 h 6859588"/>
              <a:gd name="connsiteX17" fmla="*/ 5196369 w 8240712"/>
              <a:gd name="connsiteY17" fmla="*/ 3546999 h 6859588"/>
              <a:gd name="connsiteX18" fmla="*/ 5152412 w 8240712"/>
              <a:gd name="connsiteY18" fmla="*/ 3564616 h 6859588"/>
              <a:gd name="connsiteX19" fmla="*/ 5133070 w 8240712"/>
              <a:gd name="connsiteY19" fmla="*/ 3592804 h 6859588"/>
              <a:gd name="connsiteX20" fmla="*/ 5126037 w 8240712"/>
              <a:gd name="connsiteY20" fmla="*/ 3636848 h 6859588"/>
              <a:gd name="connsiteX21" fmla="*/ 5126037 w 8240712"/>
              <a:gd name="connsiteY21" fmla="*/ 4907078 h 6859588"/>
              <a:gd name="connsiteX22" fmla="*/ 5133070 w 8240712"/>
              <a:gd name="connsiteY22" fmla="*/ 4951122 h 6859588"/>
              <a:gd name="connsiteX23" fmla="*/ 5152412 w 8240712"/>
              <a:gd name="connsiteY23" fmla="*/ 4977549 h 6859588"/>
              <a:gd name="connsiteX24" fmla="*/ 5196369 w 8240712"/>
              <a:gd name="connsiteY24" fmla="*/ 4995166 h 6859588"/>
              <a:gd name="connsiteX25" fmla="*/ 5279008 w 8240712"/>
              <a:gd name="connsiteY25" fmla="*/ 5002213 h 6859588"/>
              <a:gd name="connsiteX26" fmla="*/ 5999907 w 8240712"/>
              <a:gd name="connsiteY26" fmla="*/ 5002213 h 6859588"/>
              <a:gd name="connsiteX27" fmla="*/ 6057931 w 8240712"/>
              <a:gd name="connsiteY27" fmla="*/ 4995166 h 6859588"/>
              <a:gd name="connsiteX28" fmla="*/ 6093096 w 8240712"/>
              <a:gd name="connsiteY28" fmla="*/ 4965216 h 6859588"/>
              <a:gd name="connsiteX29" fmla="*/ 6115954 w 8240712"/>
              <a:gd name="connsiteY29" fmla="*/ 4887699 h 6859588"/>
              <a:gd name="connsiteX30" fmla="*/ 6122987 w 8240712"/>
              <a:gd name="connsiteY30" fmla="*/ 4804896 h 6859588"/>
              <a:gd name="connsiteX31" fmla="*/ 6119471 w 8240712"/>
              <a:gd name="connsiteY31" fmla="*/ 4764375 h 6859588"/>
              <a:gd name="connsiteX32" fmla="*/ 6101888 w 8240712"/>
              <a:gd name="connsiteY32" fmla="*/ 4743234 h 6859588"/>
              <a:gd name="connsiteX33" fmla="*/ 6079030 w 8240712"/>
              <a:gd name="connsiteY33" fmla="*/ 4734425 h 6859588"/>
              <a:gd name="connsiteX34" fmla="*/ 6036831 w 8240712"/>
              <a:gd name="connsiteY34" fmla="*/ 4732664 h 6859588"/>
              <a:gd name="connsiteX35" fmla="*/ 5451321 w 8240712"/>
              <a:gd name="connsiteY35" fmla="*/ 4732664 h 6859588"/>
              <a:gd name="connsiteX36" fmla="*/ 5451321 w 8240712"/>
              <a:gd name="connsiteY36" fmla="*/ 4369741 h 6859588"/>
              <a:gd name="connsiteX37" fmla="*/ 5892651 w 8240712"/>
              <a:gd name="connsiteY37" fmla="*/ 4369741 h 6859588"/>
              <a:gd name="connsiteX38" fmla="*/ 5950675 w 8240712"/>
              <a:gd name="connsiteY38" fmla="*/ 4362694 h 6859588"/>
              <a:gd name="connsiteX39" fmla="*/ 5985841 w 8240712"/>
              <a:gd name="connsiteY39" fmla="*/ 4332744 h 6859588"/>
              <a:gd name="connsiteX40" fmla="*/ 6008698 w 8240712"/>
              <a:gd name="connsiteY40" fmla="*/ 4253465 h 6859588"/>
              <a:gd name="connsiteX41" fmla="*/ 6017490 w 8240712"/>
              <a:gd name="connsiteY41" fmla="*/ 4172424 h 6859588"/>
              <a:gd name="connsiteX42" fmla="*/ 6012215 w 8240712"/>
              <a:gd name="connsiteY42" fmla="*/ 4131903 h 6859588"/>
              <a:gd name="connsiteX43" fmla="*/ 5996390 w 8240712"/>
              <a:gd name="connsiteY43" fmla="*/ 4110762 h 6859588"/>
              <a:gd name="connsiteX44" fmla="*/ 5971774 w 8240712"/>
              <a:gd name="connsiteY44" fmla="*/ 4101953 h 6859588"/>
              <a:gd name="connsiteX45" fmla="*/ 5929575 w 8240712"/>
              <a:gd name="connsiteY45" fmla="*/ 4100192 h 6859588"/>
              <a:gd name="connsiteX46" fmla="*/ 5451321 w 8240712"/>
              <a:gd name="connsiteY46" fmla="*/ 4100192 h 6859588"/>
              <a:gd name="connsiteX47" fmla="*/ 5451321 w 8240712"/>
              <a:gd name="connsiteY47" fmla="*/ 3811263 h 6859588"/>
              <a:gd name="connsiteX48" fmla="*/ 5987599 w 8240712"/>
              <a:gd name="connsiteY48" fmla="*/ 3811263 h 6859588"/>
              <a:gd name="connsiteX49" fmla="*/ 6047381 w 8240712"/>
              <a:gd name="connsiteY49" fmla="*/ 3804216 h 6859588"/>
              <a:gd name="connsiteX50" fmla="*/ 6082547 w 8240712"/>
              <a:gd name="connsiteY50" fmla="*/ 3774266 h 6859588"/>
              <a:gd name="connsiteX51" fmla="*/ 6105404 w 8240712"/>
              <a:gd name="connsiteY51" fmla="*/ 3694986 h 6859588"/>
              <a:gd name="connsiteX52" fmla="*/ 6112437 w 8240712"/>
              <a:gd name="connsiteY52" fmla="*/ 3612184 h 6859588"/>
              <a:gd name="connsiteX53" fmla="*/ 6108921 w 8240712"/>
              <a:gd name="connsiteY53" fmla="*/ 3573425 h 6859588"/>
              <a:gd name="connsiteX54" fmla="*/ 6091338 w 8240712"/>
              <a:gd name="connsiteY54" fmla="*/ 3552284 h 6859588"/>
              <a:gd name="connsiteX55" fmla="*/ 6068480 w 8240712"/>
              <a:gd name="connsiteY55" fmla="*/ 3543475 h 6859588"/>
              <a:gd name="connsiteX56" fmla="*/ 6026281 w 8240712"/>
              <a:gd name="connsiteY56" fmla="*/ 3541713 h 6859588"/>
              <a:gd name="connsiteX57" fmla="*/ 5279008 w 8240712"/>
              <a:gd name="connsiteY57" fmla="*/ 3541713 h 6859588"/>
              <a:gd name="connsiteX58" fmla="*/ 3866775 w 8240712"/>
              <a:gd name="connsiteY58" fmla="*/ 3541713 h 6859588"/>
              <a:gd name="connsiteX59" fmla="*/ 3808659 w 8240712"/>
              <a:gd name="connsiteY59" fmla="*/ 3548756 h 6859588"/>
              <a:gd name="connsiteX60" fmla="*/ 3773437 w 8240712"/>
              <a:gd name="connsiteY60" fmla="*/ 3578688 h 6859588"/>
              <a:gd name="connsiteX61" fmla="*/ 3750542 w 8240712"/>
              <a:gd name="connsiteY61" fmla="*/ 3649117 h 6859588"/>
              <a:gd name="connsiteX62" fmla="*/ 3741737 w 8240712"/>
              <a:gd name="connsiteY62" fmla="*/ 3738914 h 6859588"/>
              <a:gd name="connsiteX63" fmla="*/ 3747020 w 8240712"/>
              <a:gd name="connsiteY63" fmla="*/ 3779410 h 6859588"/>
              <a:gd name="connsiteX64" fmla="*/ 3764631 w 8240712"/>
              <a:gd name="connsiteY64" fmla="*/ 3800539 h 6859588"/>
              <a:gd name="connsiteX65" fmla="*/ 3829792 w 8240712"/>
              <a:gd name="connsiteY65" fmla="*/ 3811103 h 6859588"/>
              <a:gd name="connsiteX66" fmla="*/ 4190817 w 8240712"/>
              <a:gd name="connsiteY66" fmla="*/ 3811103 h 6859588"/>
              <a:gd name="connsiteX67" fmla="*/ 4190817 w 8240712"/>
              <a:gd name="connsiteY67" fmla="*/ 4922115 h 6859588"/>
              <a:gd name="connsiteX68" fmla="*/ 4215472 w 8240712"/>
              <a:gd name="connsiteY68" fmla="*/ 4987262 h 6859588"/>
              <a:gd name="connsiteX69" fmla="*/ 4356360 w 8240712"/>
              <a:gd name="connsiteY69" fmla="*/ 5010151 h 6859588"/>
              <a:gd name="connsiteX70" fmla="*/ 4493725 w 8240712"/>
              <a:gd name="connsiteY70" fmla="*/ 4987262 h 6859588"/>
              <a:gd name="connsiteX71" fmla="*/ 4511336 w 8240712"/>
              <a:gd name="connsiteY71" fmla="*/ 4962612 h 6859588"/>
              <a:gd name="connsiteX72" fmla="*/ 4516620 w 8240712"/>
              <a:gd name="connsiteY72" fmla="*/ 4922115 h 6859588"/>
              <a:gd name="connsiteX73" fmla="*/ 4516620 w 8240712"/>
              <a:gd name="connsiteY73" fmla="*/ 3811103 h 6859588"/>
              <a:gd name="connsiteX74" fmla="*/ 4840661 w 8240712"/>
              <a:gd name="connsiteY74" fmla="*/ 3811103 h 6859588"/>
              <a:gd name="connsiteX75" fmla="*/ 4898778 w 8240712"/>
              <a:gd name="connsiteY75" fmla="*/ 3804060 h 6859588"/>
              <a:gd name="connsiteX76" fmla="*/ 4933999 w 8240712"/>
              <a:gd name="connsiteY76" fmla="*/ 3774128 h 6859588"/>
              <a:gd name="connsiteX77" fmla="*/ 4956894 w 8240712"/>
              <a:gd name="connsiteY77" fmla="*/ 3694896 h 6859588"/>
              <a:gd name="connsiteX78" fmla="*/ 4965699 w 8240712"/>
              <a:gd name="connsiteY78" fmla="*/ 3612142 h 6859588"/>
              <a:gd name="connsiteX79" fmla="*/ 4960416 w 8240712"/>
              <a:gd name="connsiteY79" fmla="*/ 3573406 h 6859588"/>
              <a:gd name="connsiteX80" fmla="*/ 4944566 w 8240712"/>
              <a:gd name="connsiteY80" fmla="*/ 3552278 h 6859588"/>
              <a:gd name="connsiteX81" fmla="*/ 4921672 w 8240712"/>
              <a:gd name="connsiteY81" fmla="*/ 3543474 h 6859588"/>
              <a:gd name="connsiteX82" fmla="*/ 4877644 w 8240712"/>
              <a:gd name="connsiteY82" fmla="*/ 3541713 h 6859588"/>
              <a:gd name="connsiteX83" fmla="*/ 3866775 w 8240712"/>
              <a:gd name="connsiteY83" fmla="*/ 3541713 h 6859588"/>
              <a:gd name="connsiteX84" fmla="*/ 6459680 w 8240712"/>
              <a:gd name="connsiteY84" fmla="*/ 3532188 h 6859588"/>
              <a:gd name="connsiteX85" fmla="*/ 6320661 w 8240712"/>
              <a:gd name="connsiteY85" fmla="*/ 3555102 h 6859588"/>
              <a:gd name="connsiteX86" fmla="*/ 6301303 w 8240712"/>
              <a:gd name="connsiteY86" fmla="*/ 3579779 h 6859588"/>
              <a:gd name="connsiteX87" fmla="*/ 6296024 w 8240712"/>
              <a:gd name="connsiteY87" fmla="*/ 3620319 h 6859588"/>
              <a:gd name="connsiteX88" fmla="*/ 6296024 w 8240712"/>
              <a:gd name="connsiteY88" fmla="*/ 4907032 h 6859588"/>
              <a:gd name="connsiteX89" fmla="*/ 6303063 w 8240712"/>
              <a:gd name="connsiteY89" fmla="*/ 4951097 h 6859588"/>
              <a:gd name="connsiteX90" fmla="*/ 6322420 w 8240712"/>
              <a:gd name="connsiteY90" fmla="*/ 4977537 h 6859588"/>
              <a:gd name="connsiteX91" fmla="*/ 6366414 w 8240712"/>
              <a:gd name="connsiteY91" fmla="*/ 4995163 h 6859588"/>
              <a:gd name="connsiteX92" fmla="*/ 6449122 w 8240712"/>
              <a:gd name="connsiteY92" fmla="*/ 5002213 h 6859588"/>
              <a:gd name="connsiteX93" fmla="*/ 7144220 w 8240712"/>
              <a:gd name="connsiteY93" fmla="*/ 5002213 h 6859588"/>
              <a:gd name="connsiteX94" fmla="*/ 7202291 w 8240712"/>
              <a:gd name="connsiteY94" fmla="*/ 4995163 h 6859588"/>
              <a:gd name="connsiteX95" fmla="*/ 7237486 w 8240712"/>
              <a:gd name="connsiteY95" fmla="*/ 4965198 h 6859588"/>
              <a:gd name="connsiteX96" fmla="*/ 7260363 w 8240712"/>
              <a:gd name="connsiteY96" fmla="*/ 4882355 h 6859588"/>
              <a:gd name="connsiteX97" fmla="*/ 7269161 w 8240712"/>
              <a:gd name="connsiteY97" fmla="*/ 4801275 h 6859588"/>
              <a:gd name="connsiteX98" fmla="*/ 7263882 w 8240712"/>
              <a:gd name="connsiteY98" fmla="*/ 4762497 h 6859588"/>
              <a:gd name="connsiteX99" fmla="*/ 7246285 w 8240712"/>
              <a:gd name="connsiteY99" fmla="*/ 4739583 h 6859588"/>
              <a:gd name="connsiteX100" fmla="*/ 7223408 w 8240712"/>
              <a:gd name="connsiteY100" fmla="*/ 4732532 h 6859588"/>
              <a:gd name="connsiteX101" fmla="*/ 7181174 w 8240712"/>
              <a:gd name="connsiteY101" fmla="*/ 4729007 h 6859588"/>
              <a:gd name="connsiteX102" fmla="*/ 6621576 w 8240712"/>
              <a:gd name="connsiteY102" fmla="*/ 4729007 h 6859588"/>
              <a:gd name="connsiteX103" fmla="*/ 6621576 w 8240712"/>
              <a:gd name="connsiteY103" fmla="*/ 3620319 h 6859588"/>
              <a:gd name="connsiteX104" fmla="*/ 6616297 w 8240712"/>
              <a:gd name="connsiteY104" fmla="*/ 3579779 h 6859588"/>
              <a:gd name="connsiteX105" fmla="*/ 6596940 w 8240712"/>
              <a:gd name="connsiteY105" fmla="*/ 3555102 h 6859588"/>
              <a:gd name="connsiteX106" fmla="*/ 6459680 w 8240712"/>
              <a:gd name="connsiteY106" fmla="*/ 3532188 h 6859588"/>
              <a:gd name="connsiteX107" fmla="*/ 1151119 w 8240712"/>
              <a:gd name="connsiteY107" fmla="*/ 3532188 h 6859588"/>
              <a:gd name="connsiteX108" fmla="*/ 1012066 w 8240712"/>
              <a:gd name="connsiteY108" fmla="*/ 3555089 h 6859588"/>
              <a:gd name="connsiteX109" fmla="*/ 992704 w 8240712"/>
              <a:gd name="connsiteY109" fmla="*/ 3579751 h 6859588"/>
              <a:gd name="connsiteX110" fmla="*/ 987424 w 8240712"/>
              <a:gd name="connsiteY110" fmla="*/ 3620267 h 6859588"/>
              <a:gd name="connsiteX111" fmla="*/ 987424 w 8240712"/>
              <a:gd name="connsiteY111" fmla="*/ 4922072 h 6859588"/>
              <a:gd name="connsiteX112" fmla="*/ 1012066 w 8240712"/>
              <a:gd name="connsiteY112" fmla="*/ 4987251 h 6859588"/>
              <a:gd name="connsiteX113" fmla="*/ 1151119 w 8240712"/>
              <a:gd name="connsiteY113" fmla="*/ 5010151 h 6859588"/>
              <a:gd name="connsiteX114" fmla="*/ 1288411 w 8240712"/>
              <a:gd name="connsiteY114" fmla="*/ 4987251 h 6859588"/>
              <a:gd name="connsiteX115" fmla="*/ 1306013 w 8240712"/>
              <a:gd name="connsiteY115" fmla="*/ 4962589 h 6859588"/>
              <a:gd name="connsiteX116" fmla="*/ 1313053 w 8240712"/>
              <a:gd name="connsiteY116" fmla="*/ 4922072 h 6859588"/>
              <a:gd name="connsiteX117" fmla="*/ 1313053 w 8240712"/>
              <a:gd name="connsiteY117" fmla="*/ 4356606 h 6859588"/>
              <a:gd name="connsiteX118" fmla="*/ 1828780 w 8240712"/>
              <a:gd name="connsiteY118" fmla="*/ 4356606 h 6859588"/>
              <a:gd name="connsiteX119" fmla="*/ 1828780 w 8240712"/>
              <a:gd name="connsiteY119" fmla="*/ 4922072 h 6859588"/>
              <a:gd name="connsiteX120" fmla="*/ 1851662 w 8240712"/>
              <a:gd name="connsiteY120" fmla="*/ 4987251 h 6859588"/>
              <a:gd name="connsiteX121" fmla="*/ 1900946 w 8240712"/>
              <a:gd name="connsiteY121" fmla="*/ 5004866 h 6859588"/>
              <a:gd name="connsiteX122" fmla="*/ 1992475 w 8240712"/>
              <a:gd name="connsiteY122" fmla="*/ 5010151 h 6859588"/>
              <a:gd name="connsiteX123" fmla="*/ 2129767 w 8240712"/>
              <a:gd name="connsiteY123" fmla="*/ 4987251 h 6859588"/>
              <a:gd name="connsiteX124" fmla="*/ 2147369 w 8240712"/>
              <a:gd name="connsiteY124" fmla="*/ 4962589 h 6859588"/>
              <a:gd name="connsiteX125" fmla="*/ 2152649 w 8240712"/>
              <a:gd name="connsiteY125" fmla="*/ 4922072 h 6859588"/>
              <a:gd name="connsiteX126" fmla="*/ 2152649 w 8240712"/>
              <a:gd name="connsiteY126" fmla="*/ 3620267 h 6859588"/>
              <a:gd name="connsiteX127" fmla="*/ 2129767 w 8240712"/>
              <a:gd name="connsiteY127" fmla="*/ 3555089 h 6859588"/>
              <a:gd name="connsiteX128" fmla="*/ 1992475 w 8240712"/>
              <a:gd name="connsiteY128" fmla="*/ 3532188 h 6859588"/>
              <a:gd name="connsiteX129" fmla="*/ 1900946 w 8240712"/>
              <a:gd name="connsiteY129" fmla="*/ 3537473 h 6859588"/>
              <a:gd name="connsiteX130" fmla="*/ 1851662 w 8240712"/>
              <a:gd name="connsiteY130" fmla="*/ 3555089 h 6859588"/>
              <a:gd name="connsiteX131" fmla="*/ 1834060 w 8240712"/>
              <a:gd name="connsiteY131" fmla="*/ 3579751 h 6859588"/>
              <a:gd name="connsiteX132" fmla="*/ 1828780 w 8240712"/>
              <a:gd name="connsiteY132" fmla="*/ 3620267 h 6859588"/>
              <a:gd name="connsiteX133" fmla="*/ 1828780 w 8240712"/>
              <a:gd name="connsiteY133" fmla="*/ 4085323 h 6859588"/>
              <a:gd name="connsiteX134" fmla="*/ 1313053 w 8240712"/>
              <a:gd name="connsiteY134" fmla="*/ 4085323 h 6859588"/>
              <a:gd name="connsiteX135" fmla="*/ 1313053 w 8240712"/>
              <a:gd name="connsiteY135" fmla="*/ 3620267 h 6859588"/>
              <a:gd name="connsiteX136" fmla="*/ 1306013 w 8240712"/>
              <a:gd name="connsiteY136" fmla="*/ 3579751 h 6859588"/>
              <a:gd name="connsiteX137" fmla="*/ 1288411 w 8240712"/>
              <a:gd name="connsiteY137" fmla="*/ 3555089 h 6859588"/>
              <a:gd name="connsiteX138" fmla="*/ 1151119 w 8240712"/>
              <a:gd name="connsiteY138" fmla="*/ 3532188 h 6859588"/>
              <a:gd name="connsiteX139" fmla="*/ 3067929 w 8240712"/>
              <a:gd name="connsiteY139" fmla="*/ 3509963 h 6859588"/>
              <a:gd name="connsiteX140" fmla="*/ 2786443 w 8240712"/>
              <a:gd name="connsiteY140" fmla="*/ 3562819 h 6859588"/>
              <a:gd name="connsiteX141" fmla="*/ 2573569 w 8240712"/>
              <a:gd name="connsiteY141" fmla="*/ 3716100 h 6859588"/>
              <a:gd name="connsiteX142" fmla="*/ 2439863 w 8240712"/>
              <a:gd name="connsiteY142" fmla="*/ 3957473 h 6859588"/>
              <a:gd name="connsiteX143" fmla="*/ 2392362 w 8240712"/>
              <a:gd name="connsiteY143" fmla="*/ 4274606 h 6859588"/>
              <a:gd name="connsiteX144" fmla="*/ 2439863 w 8240712"/>
              <a:gd name="connsiteY144" fmla="*/ 4589977 h 6859588"/>
              <a:gd name="connsiteX145" fmla="*/ 2573569 w 8240712"/>
              <a:gd name="connsiteY145" fmla="*/ 4829589 h 6859588"/>
              <a:gd name="connsiteX146" fmla="*/ 2786443 w 8240712"/>
              <a:gd name="connsiteY146" fmla="*/ 4981108 h 6859588"/>
              <a:gd name="connsiteX147" fmla="*/ 3067929 w 8240712"/>
              <a:gd name="connsiteY147" fmla="*/ 5033963 h 6859588"/>
              <a:gd name="connsiteX148" fmla="*/ 3347656 w 8240712"/>
              <a:gd name="connsiteY148" fmla="*/ 4981108 h 6859588"/>
              <a:gd name="connsiteX149" fmla="*/ 3560530 w 8240712"/>
              <a:gd name="connsiteY149" fmla="*/ 4829589 h 6859588"/>
              <a:gd name="connsiteX150" fmla="*/ 3694236 w 8240712"/>
              <a:gd name="connsiteY150" fmla="*/ 4589977 h 6859588"/>
              <a:gd name="connsiteX151" fmla="*/ 3741737 w 8240712"/>
              <a:gd name="connsiteY151" fmla="*/ 4274606 h 6859588"/>
              <a:gd name="connsiteX152" fmla="*/ 3694236 w 8240712"/>
              <a:gd name="connsiteY152" fmla="*/ 3957473 h 6859588"/>
              <a:gd name="connsiteX153" fmla="*/ 3560530 w 8240712"/>
              <a:gd name="connsiteY153" fmla="*/ 3716100 h 6859588"/>
              <a:gd name="connsiteX154" fmla="*/ 3349415 w 8240712"/>
              <a:gd name="connsiteY154" fmla="*/ 3562819 h 6859588"/>
              <a:gd name="connsiteX155" fmla="*/ 3067929 w 8240712"/>
              <a:gd name="connsiteY155" fmla="*/ 3509963 h 6859588"/>
              <a:gd name="connsiteX156" fmla="*/ 515705 w 8240712"/>
              <a:gd name="connsiteY156" fmla="*/ 1706563 h 6859588"/>
              <a:gd name="connsiteX157" fmla="*/ 7725008 w 8240712"/>
              <a:gd name="connsiteY157" fmla="*/ 1706563 h 6859588"/>
              <a:gd name="connsiteX158" fmla="*/ 8240712 w 8240712"/>
              <a:gd name="connsiteY158" fmla="*/ 2222570 h 6859588"/>
              <a:gd name="connsiteX159" fmla="*/ 8240712 w 8240712"/>
              <a:gd name="connsiteY159" fmla="*/ 6343581 h 6859588"/>
              <a:gd name="connsiteX160" fmla="*/ 7725008 w 8240712"/>
              <a:gd name="connsiteY160" fmla="*/ 6859588 h 6859588"/>
              <a:gd name="connsiteX161" fmla="*/ 515705 w 8240712"/>
              <a:gd name="connsiteY161" fmla="*/ 6859588 h 6859588"/>
              <a:gd name="connsiteX162" fmla="*/ 0 w 8240712"/>
              <a:gd name="connsiteY162" fmla="*/ 6343581 h 6859588"/>
              <a:gd name="connsiteX163" fmla="*/ 0 w 8240712"/>
              <a:gd name="connsiteY163" fmla="*/ 2222570 h 6859588"/>
              <a:gd name="connsiteX164" fmla="*/ 515705 w 8240712"/>
              <a:gd name="connsiteY164" fmla="*/ 1706563 h 6859588"/>
              <a:gd name="connsiteX165" fmla="*/ 1545353 w 8240712"/>
              <a:gd name="connsiteY165" fmla="*/ 0 h 6859588"/>
              <a:gd name="connsiteX166" fmla="*/ 2120901 w 8240712"/>
              <a:gd name="connsiteY166" fmla="*/ 257146 h 6859588"/>
              <a:gd name="connsiteX167" fmla="*/ 6119811 w 8240712"/>
              <a:gd name="connsiteY167" fmla="*/ 257146 h 6859588"/>
              <a:gd name="connsiteX168" fmla="*/ 6695359 w 8240712"/>
              <a:gd name="connsiteY168" fmla="*/ 0 h 6859588"/>
              <a:gd name="connsiteX169" fmla="*/ 7269146 w 8240712"/>
              <a:gd name="connsiteY169" fmla="*/ 257146 h 6859588"/>
              <a:gd name="connsiteX170" fmla="*/ 7725008 w 8240712"/>
              <a:gd name="connsiteY170" fmla="*/ 257146 h 6859588"/>
              <a:gd name="connsiteX171" fmla="*/ 8240712 w 8240712"/>
              <a:gd name="connsiteY171" fmla="*/ 771439 h 6859588"/>
              <a:gd name="connsiteX172" fmla="*/ 7725008 w 8240712"/>
              <a:gd name="connsiteY172" fmla="*/ 1287492 h 6859588"/>
              <a:gd name="connsiteX173" fmla="*/ 7269146 w 8240712"/>
              <a:gd name="connsiteY173" fmla="*/ 1287492 h 6859588"/>
              <a:gd name="connsiteX174" fmla="*/ 6695359 w 8240712"/>
              <a:gd name="connsiteY174" fmla="*/ 1544638 h 6859588"/>
              <a:gd name="connsiteX175" fmla="*/ 6119811 w 8240712"/>
              <a:gd name="connsiteY175" fmla="*/ 1287492 h 6859588"/>
              <a:gd name="connsiteX176" fmla="*/ 2120901 w 8240712"/>
              <a:gd name="connsiteY176" fmla="*/ 1287492 h 6859588"/>
              <a:gd name="connsiteX177" fmla="*/ 1545353 w 8240712"/>
              <a:gd name="connsiteY177" fmla="*/ 1544638 h 6859588"/>
              <a:gd name="connsiteX178" fmla="*/ 971566 w 8240712"/>
              <a:gd name="connsiteY178" fmla="*/ 1287492 h 6859588"/>
              <a:gd name="connsiteX179" fmla="*/ 515705 w 8240712"/>
              <a:gd name="connsiteY179" fmla="*/ 1287492 h 6859588"/>
              <a:gd name="connsiteX180" fmla="*/ 0 w 8240712"/>
              <a:gd name="connsiteY180" fmla="*/ 771439 h 6859588"/>
              <a:gd name="connsiteX181" fmla="*/ 515705 w 8240712"/>
              <a:gd name="connsiteY181" fmla="*/ 257146 h 6859588"/>
              <a:gd name="connsiteX182" fmla="*/ 971566 w 8240712"/>
              <a:gd name="connsiteY182" fmla="*/ 257146 h 6859588"/>
              <a:gd name="connsiteX183" fmla="*/ 1545353 w 8240712"/>
              <a:gd name="connsiteY183" fmla="*/ 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</a:cxnLst>
            <a:rect l="l" t="t" r="r" b="b"/>
            <a:pathLst>
              <a:path w="8240712" h="6859588">
                <a:moveTo>
                  <a:pt x="3067928" y="3789363"/>
                </a:moveTo>
                <a:cubicBezTo>
                  <a:pt x="3120651" y="3789363"/>
                  <a:pt x="3166344" y="3798171"/>
                  <a:pt x="3208523" y="3817549"/>
                </a:cubicBezTo>
                <a:cubicBezTo>
                  <a:pt x="3248944" y="3836927"/>
                  <a:pt x="3284093" y="3866875"/>
                  <a:pt x="3313969" y="3905631"/>
                </a:cubicBezTo>
                <a:cubicBezTo>
                  <a:pt x="3342089" y="3946149"/>
                  <a:pt x="3364935" y="3995474"/>
                  <a:pt x="3380752" y="4057131"/>
                </a:cubicBezTo>
                <a:cubicBezTo>
                  <a:pt x="3394812" y="4118789"/>
                  <a:pt x="3403599" y="4191015"/>
                  <a:pt x="3403599" y="4273812"/>
                </a:cubicBezTo>
                <a:cubicBezTo>
                  <a:pt x="3403599" y="4356609"/>
                  <a:pt x="3393054" y="4435882"/>
                  <a:pt x="3373723" y="4511632"/>
                </a:cubicBezTo>
                <a:cubicBezTo>
                  <a:pt x="3352633" y="4587383"/>
                  <a:pt x="3317484" y="4645517"/>
                  <a:pt x="3264761" y="4689557"/>
                </a:cubicBezTo>
                <a:cubicBezTo>
                  <a:pt x="3213795" y="4731837"/>
                  <a:pt x="3147013" y="4752976"/>
                  <a:pt x="3067928" y="4752976"/>
                </a:cubicBezTo>
                <a:cubicBezTo>
                  <a:pt x="3015204" y="4752976"/>
                  <a:pt x="2967754" y="4744168"/>
                  <a:pt x="2925575" y="4724790"/>
                </a:cubicBezTo>
                <a:cubicBezTo>
                  <a:pt x="2883396" y="4707174"/>
                  <a:pt x="2848248" y="4677226"/>
                  <a:pt x="2820129" y="4638470"/>
                </a:cubicBezTo>
                <a:cubicBezTo>
                  <a:pt x="2790252" y="4599714"/>
                  <a:pt x="2769163" y="4550388"/>
                  <a:pt x="2753346" y="4488731"/>
                </a:cubicBezTo>
                <a:cubicBezTo>
                  <a:pt x="2737529" y="4428836"/>
                  <a:pt x="2730499" y="4356609"/>
                  <a:pt x="2730499" y="4273812"/>
                </a:cubicBezTo>
                <a:cubicBezTo>
                  <a:pt x="2730499" y="4191015"/>
                  <a:pt x="2737529" y="4118789"/>
                  <a:pt x="2753346" y="4057131"/>
                </a:cubicBezTo>
                <a:cubicBezTo>
                  <a:pt x="2769163" y="3995474"/>
                  <a:pt x="2790252" y="3946149"/>
                  <a:pt x="2820129" y="3905631"/>
                </a:cubicBezTo>
                <a:cubicBezTo>
                  <a:pt x="2848248" y="3866875"/>
                  <a:pt x="2883396" y="3836927"/>
                  <a:pt x="2925575" y="3817549"/>
                </a:cubicBezTo>
                <a:cubicBezTo>
                  <a:pt x="2967754" y="3798171"/>
                  <a:pt x="3015204" y="3789363"/>
                  <a:pt x="3067928" y="3789363"/>
                </a:cubicBezTo>
                <a:close/>
                <a:moveTo>
                  <a:pt x="5279008" y="3541713"/>
                </a:moveTo>
                <a:cubicBezTo>
                  <a:pt x="5243843" y="3541713"/>
                  <a:pt x="5215710" y="3543475"/>
                  <a:pt x="5196369" y="3546999"/>
                </a:cubicBezTo>
                <a:cubicBezTo>
                  <a:pt x="5177028" y="3550522"/>
                  <a:pt x="5162961" y="3557569"/>
                  <a:pt x="5152412" y="3564616"/>
                </a:cubicBezTo>
                <a:cubicBezTo>
                  <a:pt x="5145378" y="3571663"/>
                  <a:pt x="5138345" y="3580472"/>
                  <a:pt x="5133070" y="3592804"/>
                </a:cubicBezTo>
                <a:cubicBezTo>
                  <a:pt x="5129554" y="3603375"/>
                  <a:pt x="5126037" y="3619231"/>
                  <a:pt x="5126037" y="3636848"/>
                </a:cubicBezTo>
                <a:cubicBezTo>
                  <a:pt x="5126037" y="3636848"/>
                  <a:pt x="5126037" y="3636848"/>
                  <a:pt x="5126037" y="4907078"/>
                </a:cubicBezTo>
                <a:cubicBezTo>
                  <a:pt x="5126037" y="4924696"/>
                  <a:pt x="5129554" y="4940552"/>
                  <a:pt x="5133070" y="4951122"/>
                </a:cubicBezTo>
                <a:cubicBezTo>
                  <a:pt x="5138345" y="4963454"/>
                  <a:pt x="5145378" y="4972263"/>
                  <a:pt x="5152412" y="4977549"/>
                </a:cubicBezTo>
                <a:cubicBezTo>
                  <a:pt x="5162961" y="4986357"/>
                  <a:pt x="5177028" y="4991643"/>
                  <a:pt x="5196369" y="4995166"/>
                </a:cubicBezTo>
                <a:cubicBezTo>
                  <a:pt x="5215710" y="5000451"/>
                  <a:pt x="5243843" y="5002213"/>
                  <a:pt x="5279008" y="5002213"/>
                </a:cubicBezTo>
                <a:cubicBezTo>
                  <a:pt x="5279008" y="5002213"/>
                  <a:pt x="5279008" y="5002213"/>
                  <a:pt x="5999907" y="5002213"/>
                </a:cubicBezTo>
                <a:cubicBezTo>
                  <a:pt x="6024523" y="5002213"/>
                  <a:pt x="6043864" y="5000451"/>
                  <a:pt x="6057931" y="4995166"/>
                </a:cubicBezTo>
                <a:cubicBezTo>
                  <a:pt x="6071997" y="4991643"/>
                  <a:pt x="6084305" y="4981072"/>
                  <a:pt x="6093096" y="4965216"/>
                </a:cubicBezTo>
                <a:cubicBezTo>
                  <a:pt x="6101888" y="4947599"/>
                  <a:pt x="6110679" y="4921172"/>
                  <a:pt x="6115954" y="4887699"/>
                </a:cubicBezTo>
                <a:cubicBezTo>
                  <a:pt x="6121229" y="4852463"/>
                  <a:pt x="6122987" y="4824275"/>
                  <a:pt x="6122987" y="4804896"/>
                </a:cubicBezTo>
                <a:cubicBezTo>
                  <a:pt x="6122987" y="4787278"/>
                  <a:pt x="6121229" y="4773184"/>
                  <a:pt x="6119471" y="4764375"/>
                </a:cubicBezTo>
                <a:cubicBezTo>
                  <a:pt x="6115954" y="4755567"/>
                  <a:pt x="6110679" y="4748520"/>
                  <a:pt x="6101888" y="4743234"/>
                </a:cubicBezTo>
                <a:cubicBezTo>
                  <a:pt x="6096613" y="4739711"/>
                  <a:pt x="6087821" y="4736187"/>
                  <a:pt x="6079030" y="4734425"/>
                </a:cubicBezTo>
                <a:cubicBezTo>
                  <a:pt x="6068480" y="4732664"/>
                  <a:pt x="6054414" y="4732664"/>
                  <a:pt x="6036831" y="4732664"/>
                </a:cubicBezTo>
                <a:cubicBezTo>
                  <a:pt x="6036831" y="4732664"/>
                  <a:pt x="6036831" y="4732664"/>
                  <a:pt x="5451321" y="4732664"/>
                </a:cubicBezTo>
                <a:cubicBezTo>
                  <a:pt x="5451321" y="4732664"/>
                  <a:pt x="5451321" y="4732664"/>
                  <a:pt x="5451321" y="4369741"/>
                </a:cubicBezTo>
                <a:cubicBezTo>
                  <a:pt x="5451321" y="4369741"/>
                  <a:pt x="5451321" y="4369741"/>
                  <a:pt x="5892651" y="4369741"/>
                </a:cubicBezTo>
                <a:cubicBezTo>
                  <a:pt x="5917267" y="4369741"/>
                  <a:pt x="5936609" y="4367979"/>
                  <a:pt x="5950675" y="4362694"/>
                </a:cubicBezTo>
                <a:cubicBezTo>
                  <a:pt x="5966499" y="4359170"/>
                  <a:pt x="5977049" y="4348600"/>
                  <a:pt x="5985841" y="4332744"/>
                </a:cubicBezTo>
                <a:cubicBezTo>
                  <a:pt x="5996390" y="4313365"/>
                  <a:pt x="6003424" y="4286938"/>
                  <a:pt x="6008698" y="4253465"/>
                </a:cubicBezTo>
                <a:cubicBezTo>
                  <a:pt x="6013973" y="4218230"/>
                  <a:pt x="6017490" y="4191803"/>
                  <a:pt x="6017490" y="4172424"/>
                </a:cubicBezTo>
                <a:cubicBezTo>
                  <a:pt x="6017490" y="4154806"/>
                  <a:pt x="6015732" y="4140712"/>
                  <a:pt x="6012215" y="4131903"/>
                </a:cubicBezTo>
                <a:cubicBezTo>
                  <a:pt x="6010457" y="4123094"/>
                  <a:pt x="6003424" y="4116047"/>
                  <a:pt x="5996390" y="4110762"/>
                </a:cubicBezTo>
                <a:cubicBezTo>
                  <a:pt x="5989357" y="4107239"/>
                  <a:pt x="5982324" y="4103715"/>
                  <a:pt x="5971774" y="4101953"/>
                </a:cubicBezTo>
                <a:cubicBezTo>
                  <a:pt x="5962983" y="4100192"/>
                  <a:pt x="5948917" y="4100192"/>
                  <a:pt x="5929575" y="4100192"/>
                </a:cubicBezTo>
                <a:cubicBezTo>
                  <a:pt x="5929575" y="4100192"/>
                  <a:pt x="5929575" y="4100192"/>
                  <a:pt x="5451321" y="4100192"/>
                </a:cubicBezTo>
                <a:cubicBezTo>
                  <a:pt x="5451321" y="4100192"/>
                  <a:pt x="5451321" y="4100192"/>
                  <a:pt x="5451321" y="3811263"/>
                </a:cubicBezTo>
                <a:cubicBezTo>
                  <a:pt x="5451321" y="3811263"/>
                  <a:pt x="5451321" y="3811263"/>
                  <a:pt x="5987599" y="3811263"/>
                </a:cubicBezTo>
                <a:cubicBezTo>
                  <a:pt x="6012215" y="3811263"/>
                  <a:pt x="6031556" y="3809501"/>
                  <a:pt x="6047381" y="3804216"/>
                </a:cubicBezTo>
                <a:cubicBezTo>
                  <a:pt x="6061447" y="3800692"/>
                  <a:pt x="6073755" y="3790122"/>
                  <a:pt x="6082547" y="3774266"/>
                </a:cubicBezTo>
                <a:cubicBezTo>
                  <a:pt x="6091338" y="3754886"/>
                  <a:pt x="6100129" y="3728460"/>
                  <a:pt x="6105404" y="3694986"/>
                </a:cubicBezTo>
                <a:cubicBezTo>
                  <a:pt x="6110679" y="3659751"/>
                  <a:pt x="6112437" y="3633325"/>
                  <a:pt x="6112437" y="3612184"/>
                </a:cubicBezTo>
                <a:cubicBezTo>
                  <a:pt x="6112437" y="3596328"/>
                  <a:pt x="6110679" y="3582234"/>
                  <a:pt x="6108921" y="3573425"/>
                </a:cubicBezTo>
                <a:cubicBezTo>
                  <a:pt x="6105404" y="3564616"/>
                  <a:pt x="6100129" y="3557569"/>
                  <a:pt x="6091338" y="3552284"/>
                </a:cubicBezTo>
                <a:cubicBezTo>
                  <a:pt x="6086063" y="3548760"/>
                  <a:pt x="6077272" y="3545237"/>
                  <a:pt x="6068480" y="3543475"/>
                </a:cubicBezTo>
                <a:cubicBezTo>
                  <a:pt x="6057931" y="3541713"/>
                  <a:pt x="6043864" y="3541713"/>
                  <a:pt x="6026281" y="3541713"/>
                </a:cubicBezTo>
                <a:cubicBezTo>
                  <a:pt x="6026281" y="3541713"/>
                  <a:pt x="6026281" y="3541713"/>
                  <a:pt x="5279008" y="3541713"/>
                </a:cubicBezTo>
                <a:close/>
                <a:moveTo>
                  <a:pt x="3866775" y="3541713"/>
                </a:moveTo>
                <a:cubicBezTo>
                  <a:pt x="3842119" y="3541713"/>
                  <a:pt x="3822747" y="3543474"/>
                  <a:pt x="3808659" y="3548756"/>
                </a:cubicBezTo>
                <a:cubicBezTo>
                  <a:pt x="3792809" y="3552278"/>
                  <a:pt x="3782242" y="3562842"/>
                  <a:pt x="3773437" y="3578688"/>
                </a:cubicBezTo>
                <a:cubicBezTo>
                  <a:pt x="3762870" y="3596295"/>
                  <a:pt x="3755826" y="3619185"/>
                  <a:pt x="3750542" y="3649117"/>
                </a:cubicBezTo>
                <a:cubicBezTo>
                  <a:pt x="3745259" y="3677288"/>
                  <a:pt x="3741737" y="3707221"/>
                  <a:pt x="3741737" y="3738914"/>
                </a:cubicBezTo>
                <a:cubicBezTo>
                  <a:pt x="3741737" y="3756521"/>
                  <a:pt x="3743498" y="3770606"/>
                  <a:pt x="3747020" y="3779410"/>
                </a:cubicBezTo>
                <a:cubicBezTo>
                  <a:pt x="3748781" y="3788214"/>
                  <a:pt x="3755826" y="3795256"/>
                  <a:pt x="3764631" y="3800539"/>
                </a:cubicBezTo>
                <a:cubicBezTo>
                  <a:pt x="3776959" y="3807582"/>
                  <a:pt x="3798092" y="3811103"/>
                  <a:pt x="3829792" y="3811103"/>
                </a:cubicBezTo>
                <a:cubicBezTo>
                  <a:pt x="3829792" y="3811103"/>
                  <a:pt x="3829792" y="3811103"/>
                  <a:pt x="4190817" y="3811103"/>
                </a:cubicBezTo>
                <a:cubicBezTo>
                  <a:pt x="4190817" y="3811103"/>
                  <a:pt x="4190817" y="3811103"/>
                  <a:pt x="4190817" y="4922115"/>
                </a:cubicBezTo>
                <a:cubicBezTo>
                  <a:pt x="4190817" y="4953808"/>
                  <a:pt x="4199622" y="4974937"/>
                  <a:pt x="4215472" y="4987262"/>
                </a:cubicBezTo>
                <a:cubicBezTo>
                  <a:pt x="4236605" y="5001348"/>
                  <a:pt x="4282394" y="5010151"/>
                  <a:pt x="4356360" y="5010151"/>
                </a:cubicBezTo>
                <a:cubicBezTo>
                  <a:pt x="4425043" y="5010151"/>
                  <a:pt x="4470831" y="5001348"/>
                  <a:pt x="4493725" y="4987262"/>
                </a:cubicBezTo>
                <a:cubicBezTo>
                  <a:pt x="4500770" y="4980219"/>
                  <a:pt x="4507814" y="4971415"/>
                  <a:pt x="4511336" y="4962612"/>
                </a:cubicBezTo>
                <a:cubicBezTo>
                  <a:pt x="4514859" y="4953808"/>
                  <a:pt x="4516620" y="4939723"/>
                  <a:pt x="4516620" y="4922115"/>
                </a:cubicBezTo>
                <a:cubicBezTo>
                  <a:pt x="4516620" y="4922115"/>
                  <a:pt x="4516620" y="4922115"/>
                  <a:pt x="4516620" y="3811103"/>
                </a:cubicBezTo>
                <a:cubicBezTo>
                  <a:pt x="4516620" y="3811103"/>
                  <a:pt x="4516620" y="3811103"/>
                  <a:pt x="4840661" y="3811103"/>
                </a:cubicBezTo>
                <a:cubicBezTo>
                  <a:pt x="4865317" y="3811103"/>
                  <a:pt x="4884689" y="3809342"/>
                  <a:pt x="4898778" y="3804060"/>
                </a:cubicBezTo>
                <a:cubicBezTo>
                  <a:pt x="4914627" y="3800539"/>
                  <a:pt x="4926955" y="3789974"/>
                  <a:pt x="4933999" y="3774128"/>
                </a:cubicBezTo>
                <a:cubicBezTo>
                  <a:pt x="4944566" y="3754760"/>
                  <a:pt x="4951610" y="3728349"/>
                  <a:pt x="4956894" y="3694896"/>
                </a:cubicBezTo>
                <a:cubicBezTo>
                  <a:pt x="4962177" y="3659681"/>
                  <a:pt x="4965699" y="3633271"/>
                  <a:pt x="4965699" y="3612142"/>
                </a:cubicBezTo>
                <a:cubicBezTo>
                  <a:pt x="4965699" y="3596295"/>
                  <a:pt x="4963938" y="3582210"/>
                  <a:pt x="4960416" y="3573406"/>
                </a:cubicBezTo>
                <a:cubicBezTo>
                  <a:pt x="4958655" y="3564603"/>
                  <a:pt x="4953372" y="3557560"/>
                  <a:pt x="4944566" y="3552278"/>
                </a:cubicBezTo>
                <a:cubicBezTo>
                  <a:pt x="4939283" y="3548756"/>
                  <a:pt x="4930477" y="3545235"/>
                  <a:pt x="4921672" y="3543474"/>
                </a:cubicBezTo>
                <a:cubicBezTo>
                  <a:pt x="4911105" y="3541713"/>
                  <a:pt x="4897016" y="3541713"/>
                  <a:pt x="4877644" y="3541713"/>
                </a:cubicBezTo>
                <a:cubicBezTo>
                  <a:pt x="4877644" y="3541713"/>
                  <a:pt x="4877644" y="3541713"/>
                  <a:pt x="3866775" y="3541713"/>
                </a:cubicBezTo>
                <a:close/>
                <a:moveTo>
                  <a:pt x="6459680" y="3532188"/>
                </a:moveTo>
                <a:cubicBezTo>
                  <a:pt x="6387531" y="3532188"/>
                  <a:pt x="6340018" y="3539239"/>
                  <a:pt x="6320661" y="3555102"/>
                </a:cubicBezTo>
                <a:cubicBezTo>
                  <a:pt x="6311862" y="3562153"/>
                  <a:pt x="6306583" y="3569203"/>
                  <a:pt x="6301303" y="3579779"/>
                </a:cubicBezTo>
                <a:cubicBezTo>
                  <a:pt x="6297784" y="3588592"/>
                  <a:pt x="6296024" y="3600930"/>
                  <a:pt x="6296024" y="3620319"/>
                </a:cubicBezTo>
                <a:cubicBezTo>
                  <a:pt x="6296024" y="3620319"/>
                  <a:pt x="6296024" y="3620319"/>
                  <a:pt x="6296024" y="4907032"/>
                </a:cubicBezTo>
                <a:cubicBezTo>
                  <a:pt x="6296024" y="4924658"/>
                  <a:pt x="6297784" y="4940521"/>
                  <a:pt x="6303063" y="4951097"/>
                </a:cubicBezTo>
                <a:cubicBezTo>
                  <a:pt x="6308342" y="4963436"/>
                  <a:pt x="6315381" y="4972249"/>
                  <a:pt x="6322420" y="4977537"/>
                </a:cubicBezTo>
                <a:cubicBezTo>
                  <a:pt x="6332979" y="4986350"/>
                  <a:pt x="6347057" y="4991637"/>
                  <a:pt x="6366414" y="4995163"/>
                </a:cubicBezTo>
                <a:cubicBezTo>
                  <a:pt x="6385771" y="5000451"/>
                  <a:pt x="6413927" y="5002213"/>
                  <a:pt x="6449122" y="5002213"/>
                </a:cubicBezTo>
                <a:cubicBezTo>
                  <a:pt x="6449122" y="5002213"/>
                  <a:pt x="6449122" y="5002213"/>
                  <a:pt x="7144220" y="5002213"/>
                </a:cubicBezTo>
                <a:cubicBezTo>
                  <a:pt x="7168856" y="5002213"/>
                  <a:pt x="7188213" y="5000451"/>
                  <a:pt x="7202291" y="4995163"/>
                </a:cubicBezTo>
                <a:cubicBezTo>
                  <a:pt x="7218129" y="4991637"/>
                  <a:pt x="7228687" y="4981062"/>
                  <a:pt x="7237486" y="4965198"/>
                </a:cubicBezTo>
                <a:cubicBezTo>
                  <a:pt x="7248044" y="4945809"/>
                  <a:pt x="7255083" y="4919370"/>
                  <a:pt x="7260363" y="4882355"/>
                </a:cubicBezTo>
                <a:cubicBezTo>
                  <a:pt x="7265642" y="4847103"/>
                  <a:pt x="7269161" y="4820663"/>
                  <a:pt x="7269161" y="4801275"/>
                </a:cubicBezTo>
                <a:cubicBezTo>
                  <a:pt x="7269161" y="4783648"/>
                  <a:pt x="7267401" y="4771310"/>
                  <a:pt x="7263882" y="4762497"/>
                </a:cubicBezTo>
                <a:cubicBezTo>
                  <a:pt x="7262122" y="4753684"/>
                  <a:pt x="7255083" y="4746633"/>
                  <a:pt x="7246285" y="4739583"/>
                </a:cubicBezTo>
                <a:cubicBezTo>
                  <a:pt x="7241005" y="4736058"/>
                  <a:pt x="7232207" y="4734295"/>
                  <a:pt x="7223408" y="4732532"/>
                </a:cubicBezTo>
                <a:cubicBezTo>
                  <a:pt x="7212849" y="4730770"/>
                  <a:pt x="7198772" y="4729007"/>
                  <a:pt x="7181174" y="4729007"/>
                </a:cubicBezTo>
                <a:cubicBezTo>
                  <a:pt x="7181174" y="4729007"/>
                  <a:pt x="7181174" y="4729007"/>
                  <a:pt x="6621576" y="4729007"/>
                </a:cubicBezTo>
                <a:cubicBezTo>
                  <a:pt x="6621576" y="4729007"/>
                  <a:pt x="6621576" y="4729007"/>
                  <a:pt x="6621576" y="3620319"/>
                </a:cubicBezTo>
                <a:cubicBezTo>
                  <a:pt x="6621576" y="3600930"/>
                  <a:pt x="6619817" y="3588592"/>
                  <a:pt x="6616297" y="3579779"/>
                </a:cubicBezTo>
                <a:cubicBezTo>
                  <a:pt x="6611018" y="3569203"/>
                  <a:pt x="6605739" y="3562153"/>
                  <a:pt x="6596940" y="3555102"/>
                </a:cubicBezTo>
                <a:cubicBezTo>
                  <a:pt x="6577583" y="3539239"/>
                  <a:pt x="6531830" y="3532188"/>
                  <a:pt x="6459680" y="3532188"/>
                </a:cubicBezTo>
                <a:close/>
                <a:moveTo>
                  <a:pt x="1151119" y="3532188"/>
                </a:moveTo>
                <a:cubicBezTo>
                  <a:pt x="1077192" y="3532188"/>
                  <a:pt x="1031428" y="3539235"/>
                  <a:pt x="1012066" y="3555089"/>
                </a:cubicBezTo>
                <a:cubicBezTo>
                  <a:pt x="1003265" y="3562135"/>
                  <a:pt x="996225" y="3569181"/>
                  <a:pt x="992704" y="3579751"/>
                </a:cubicBezTo>
                <a:cubicBezTo>
                  <a:pt x="989184" y="3588559"/>
                  <a:pt x="987424" y="3600890"/>
                  <a:pt x="987424" y="3620267"/>
                </a:cubicBezTo>
                <a:cubicBezTo>
                  <a:pt x="987424" y="3620267"/>
                  <a:pt x="987424" y="3620267"/>
                  <a:pt x="987424" y="4922072"/>
                </a:cubicBezTo>
                <a:cubicBezTo>
                  <a:pt x="987424" y="4952019"/>
                  <a:pt x="994465" y="4973158"/>
                  <a:pt x="1012066" y="4987251"/>
                </a:cubicBezTo>
                <a:cubicBezTo>
                  <a:pt x="1031428" y="5001343"/>
                  <a:pt x="1077192" y="5010151"/>
                  <a:pt x="1151119" y="5010151"/>
                </a:cubicBezTo>
                <a:cubicBezTo>
                  <a:pt x="1223285" y="5010151"/>
                  <a:pt x="1269049" y="5001343"/>
                  <a:pt x="1288411" y="4987251"/>
                </a:cubicBezTo>
                <a:cubicBezTo>
                  <a:pt x="1297212" y="4980204"/>
                  <a:pt x="1302492" y="4971396"/>
                  <a:pt x="1306013" y="4962589"/>
                </a:cubicBezTo>
                <a:cubicBezTo>
                  <a:pt x="1311293" y="4953781"/>
                  <a:pt x="1313053" y="4939688"/>
                  <a:pt x="1313053" y="4922072"/>
                </a:cubicBezTo>
                <a:cubicBezTo>
                  <a:pt x="1313053" y="4922072"/>
                  <a:pt x="1313053" y="4922072"/>
                  <a:pt x="1313053" y="4356606"/>
                </a:cubicBezTo>
                <a:cubicBezTo>
                  <a:pt x="1313053" y="4356606"/>
                  <a:pt x="1313053" y="4356606"/>
                  <a:pt x="1828780" y="4356606"/>
                </a:cubicBezTo>
                <a:cubicBezTo>
                  <a:pt x="1828780" y="4356606"/>
                  <a:pt x="1828780" y="4356606"/>
                  <a:pt x="1828780" y="4922072"/>
                </a:cubicBezTo>
                <a:cubicBezTo>
                  <a:pt x="1828780" y="4952019"/>
                  <a:pt x="1835820" y="4973158"/>
                  <a:pt x="1851662" y="4987251"/>
                </a:cubicBezTo>
                <a:cubicBezTo>
                  <a:pt x="1862223" y="4994297"/>
                  <a:pt x="1878064" y="4999582"/>
                  <a:pt x="1900946" y="5004866"/>
                </a:cubicBezTo>
                <a:cubicBezTo>
                  <a:pt x="1923828" y="5008390"/>
                  <a:pt x="1955511" y="5010151"/>
                  <a:pt x="1992475" y="5010151"/>
                </a:cubicBezTo>
                <a:cubicBezTo>
                  <a:pt x="2062881" y="5010151"/>
                  <a:pt x="2108645" y="5001343"/>
                  <a:pt x="2129767" y="4987251"/>
                </a:cubicBezTo>
                <a:cubicBezTo>
                  <a:pt x="2138568" y="4980204"/>
                  <a:pt x="2143848" y="4971396"/>
                  <a:pt x="2147369" y="4962589"/>
                </a:cubicBezTo>
                <a:cubicBezTo>
                  <a:pt x="2150889" y="4953781"/>
                  <a:pt x="2152649" y="4939688"/>
                  <a:pt x="2152649" y="4922072"/>
                </a:cubicBezTo>
                <a:lnTo>
                  <a:pt x="2152649" y="3620267"/>
                </a:lnTo>
                <a:cubicBezTo>
                  <a:pt x="2152649" y="3588559"/>
                  <a:pt x="2145608" y="3567420"/>
                  <a:pt x="2129767" y="3555089"/>
                </a:cubicBezTo>
                <a:cubicBezTo>
                  <a:pt x="2108645" y="3539235"/>
                  <a:pt x="2062881" y="3532188"/>
                  <a:pt x="1992475" y="3532188"/>
                </a:cubicBezTo>
                <a:cubicBezTo>
                  <a:pt x="1955511" y="3532188"/>
                  <a:pt x="1923828" y="3533950"/>
                  <a:pt x="1900946" y="3537473"/>
                </a:cubicBezTo>
                <a:cubicBezTo>
                  <a:pt x="1878064" y="3542758"/>
                  <a:pt x="1862223" y="3548042"/>
                  <a:pt x="1851662" y="3555089"/>
                </a:cubicBezTo>
                <a:cubicBezTo>
                  <a:pt x="1842861" y="3562135"/>
                  <a:pt x="1837581" y="3569181"/>
                  <a:pt x="1834060" y="3579751"/>
                </a:cubicBezTo>
                <a:cubicBezTo>
                  <a:pt x="1830540" y="3588559"/>
                  <a:pt x="1828780" y="3600890"/>
                  <a:pt x="1828780" y="3620267"/>
                </a:cubicBezTo>
                <a:cubicBezTo>
                  <a:pt x="1828780" y="3620267"/>
                  <a:pt x="1828780" y="3620267"/>
                  <a:pt x="1828780" y="4085323"/>
                </a:cubicBezTo>
                <a:cubicBezTo>
                  <a:pt x="1828780" y="4085323"/>
                  <a:pt x="1828780" y="4085323"/>
                  <a:pt x="1313053" y="4085323"/>
                </a:cubicBezTo>
                <a:cubicBezTo>
                  <a:pt x="1313053" y="4085323"/>
                  <a:pt x="1313053" y="4085323"/>
                  <a:pt x="1313053" y="3620267"/>
                </a:cubicBezTo>
                <a:cubicBezTo>
                  <a:pt x="1313053" y="3600890"/>
                  <a:pt x="1311293" y="3588559"/>
                  <a:pt x="1306013" y="3579751"/>
                </a:cubicBezTo>
                <a:cubicBezTo>
                  <a:pt x="1302492" y="3569181"/>
                  <a:pt x="1297212" y="3562135"/>
                  <a:pt x="1288411" y="3555089"/>
                </a:cubicBezTo>
                <a:cubicBezTo>
                  <a:pt x="1269049" y="3539235"/>
                  <a:pt x="1223285" y="3532188"/>
                  <a:pt x="1151119" y="3532188"/>
                </a:cubicBezTo>
                <a:close/>
                <a:moveTo>
                  <a:pt x="3067929" y="3509963"/>
                </a:moveTo>
                <a:cubicBezTo>
                  <a:pt x="2964131" y="3509963"/>
                  <a:pt x="2870889" y="3527582"/>
                  <a:pt x="2786443" y="3562819"/>
                </a:cubicBezTo>
                <a:cubicBezTo>
                  <a:pt x="2701997" y="3599818"/>
                  <a:pt x="2631625" y="3650911"/>
                  <a:pt x="2573569" y="3716100"/>
                </a:cubicBezTo>
                <a:cubicBezTo>
                  <a:pt x="2515512" y="3783050"/>
                  <a:pt x="2471530" y="3862333"/>
                  <a:pt x="2439863" y="3957473"/>
                </a:cubicBezTo>
                <a:cubicBezTo>
                  <a:pt x="2408196" y="4050851"/>
                  <a:pt x="2392362" y="4156562"/>
                  <a:pt x="2392362" y="4274606"/>
                </a:cubicBezTo>
                <a:cubicBezTo>
                  <a:pt x="2392362" y="4390888"/>
                  <a:pt x="2408196" y="4496599"/>
                  <a:pt x="2439863" y="4589977"/>
                </a:cubicBezTo>
                <a:cubicBezTo>
                  <a:pt x="2471530" y="4683355"/>
                  <a:pt x="2515512" y="4764400"/>
                  <a:pt x="2573569" y="4829589"/>
                </a:cubicBezTo>
                <a:cubicBezTo>
                  <a:pt x="2633385" y="4894777"/>
                  <a:pt x="2703756" y="4945871"/>
                  <a:pt x="2786443" y="4981108"/>
                </a:cubicBezTo>
                <a:cubicBezTo>
                  <a:pt x="2870889" y="5016345"/>
                  <a:pt x="2964131" y="5033963"/>
                  <a:pt x="3067929" y="5033963"/>
                </a:cubicBezTo>
                <a:cubicBezTo>
                  <a:pt x="3171727" y="5033963"/>
                  <a:pt x="3264970" y="5016345"/>
                  <a:pt x="3347656" y="4981108"/>
                </a:cubicBezTo>
                <a:cubicBezTo>
                  <a:pt x="3430343" y="4945871"/>
                  <a:pt x="3500714" y="4894777"/>
                  <a:pt x="3560530" y="4829589"/>
                </a:cubicBezTo>
                <a:cubicBezTo>
                  <a:pt x="3618587" y="4764400"/>
                  <a:pt x="3662569" y="4683355"/>
                  <a:pt x="3694236" y="4589977"/>
                </a:cubicBezTo>
                <a:cubicBezTo>
                  <a:pt x="3725903" y="4496599"/>
                  <a:pt x="3741737" y="4390888"/>
                  <a:pt x="3741737" y="4274606"/>
                </a:cubicBezTo>
                <a:cubicBezTo>
                  <a:pt x="3741737" y="4156562"/>
                  <a:pt x="3725903" y="4050851"/>
                  <a:pt x="3694236" y="3957473"/>
                </a:cubicBezTo>
                <a:cubicBezTo>
                  <a:pt x="3662569" y="3862333"/>
                  <a:pt x="3618587" y="3783050"/>
                  <a:pt x="3560530" y="3716100"/>
                </a:cubicBezTo>
                <a:cubicBezTo>
                  <a:pt x="3502474" y="3650911"/>
                  <a:pt x="3432102" y="3599818"/>
                  <a:pt x="3349415" y="3562819"/>
                </a:cubicBezTo>
                <a:cubicBezTo>
                  <a:pt x="3266729" y="3527582"/>
                  <a:pt x="3171727" y="3509963"/>
                  <a:pt x="3067929" y="3509963"/>
                </a:cubicBezTo>
                <a:close/>
                <a:moveTo>
                  <a:pt x="515705" y="1706563"/>
                </a:moveTo>
                <a:cubicBezTo>
                  <a:pt x="515705" y="1706563"/>
                  <a:pt x="515705" y="1706563"/>
                  <a:pt x="7725008" y="1706563"/>
                </a:cubicBezTo>
                <a:cubicBezTo>
                  <a:pt x="8010141" y="1706563"/>
                  <a:pt x="8240712" y="1937269"/>
                  <a:pt x="8240712" y="2222570"/>
                </a:cubicBezTo>
                <a:cubicBezTo>
                  <a:pt x="8240712" y="2222570"/>
                  <a:pt x="8240712" y="2222570"/>
                  <a:pt x="8240712" y="6343581"/>
                </a:cubicBezTo>
                <a:cubicBezTo>
                  <a:pt x="8240712" y="6628882"/>
                  <a:pt x="8010141" y="6859588"/>
                  <a:pt x="7725008" y="6859588"/>
                </a:cubicBezTo>
                <a:cubicBezTo>
                  <a:pt x="7725008" y="6859588"/>
                  <a:pt x="7725008" y="6859588"/>
                  <a:pt x="515705" y="6859588"/>
                </a:cubicBezTo>
                <a:cubicBezTo>
                  <a:pt x="230571" y="6859588"/>
                  <a:pt x="0" y="6628882"/>
                  <a:pt x="0" y="6343581"/>
                </a:cubicBezTo>
                <a:cubicBezTo>
                  <a:pt x="0" y="6343581"/>
                  <a:pt x="0" y="6343581"/>
                  <a:pt x="0" y="2222570"/>
                </a:cubicBezTo>
                <a:cubicBezTo>
                  <a:pt x="0" y="1937269"/>
                  <a:pt x="230571" y="1706563"/>
                  <a:pt x="515705" y="1706563"/>
                </a:cubicBezTo>
                <a:close/>
                <a:moveTo>
                  <a:pt x="1545353" y="0"/>
                </a:moveTo>
                <a:cubicBezTo>
                  <a:pt x="1774164" y="0"/>
                  <a:pt x="1978334" y="98632"/>
                  <a:pt x="2120901" y="257146"/>
                </a:cubicBezTo>
                <a:cubicBezTo>
                  <a:pt x="2120901" y="257146"/>
                  <a:pt x="2120901" y="257146"/>
                  <a:pt x="6119811" y="257146"/>
                </a:cubicBezTo>
                <a:cubicBezTo>
                  <a:pt x="6262378" y="98632"/>
                  <a:pt x="6466548" y="0"/>
                  <a:pt x="6695359" y="0"/>
                </a:cubicBezTo>
                <a:cubicBezTo>
                  <a:pt x="6924170" y="0"/>
                  <a:pt x="7128339" y="98632"/>
                  <a:pt x="7269146" y="257146"/>
                </a:cubicBezTo>
                <a:cubicBezTo>
                  <a:pt x="7269146" y="257146"/>
                  <a:pt x="7269146" y="257146"/>
                  <a:pt x="7725008" y="257146"/>
                </a:cubicBezTo>
                <a:cubicBezTo>
                  <a:pt x="8010141" y="257146"/>
                  <a:pt x="8240712" y="487873"/>
                  <a:pt x="8240712" y="771439"/>
                </a:cubicBezTo>
                <a:cubicBezTo>
                  <a:pt x="8240712" y="1056765"/>
                  <a:pt x="8010141" y="1287492"/>
                  <a:pt x="7725008" y="1287492"/>
                </a:cubicBezTo>
                <a:cubicBezTo>
                  <a:pt x="7725008" y="1287492"/>
                  <a:pt x="7725008" y="1287492"/>
                  <a:pt x="7269146" y="1287492"/>
                </a:cubicBezTo>
                <a:cubicBezTo>
                  <a:pt x="7128339" y="1446007"/>
                  <a:pt x="6924170" y="1544638"/>
                  <a:pt x="6695359" y="1544638"/>
                </a:cubicBezTo>
                <a:cubicBezTo>
                  <a:pt x="6466548" y="1544638"/>
                  <a:pt x="6262378" y="1446007"/>
                  <a:pt x="6119811" y="1287492"/>
                </a:cubicBezTo>
                <a:cubicBezTo>
                  <a:pt x="6119811" y="1287492"/>
                  <a:pt x="6119811" y="1287492"/>
                  <a:pt x="2120901" y="1287492"/>
                </a:cubicBezTo>
                <a:cubicBezTo>
                  <a:pt x="1978334" y="1446007"/>
                  <a:pt x="1774164" y="1544638"/>
                  <a:pt x="1545353" y="1544638"/>
                </a:cubicBezTo>
                <a:cubicBezTo>
                  <a:pt x="1316543" y="1544638"/>
                  <a:pt x="1112373" y="1446007"/>
                  <a:pt x="971566" y="1287492"/>
                </a:cubicBezTo>
                <a:cubicBezTo>
                  <a:pt x="971566" y="1287492"/>
                  <a:pt x="971566" y="1287492"/>
                  <a:pt x="515705" y="1287492"/>
                </a:cubicBezTo>
                <a:cubicBezTo>
                  <a:pt x="230571" y="1287492"/>
                  <a:pt x="0" y="1056765"/>
                  <a:pt x="0" y="771439"/>
                </a:cubicBezTo>
                <a:cubicBezTo>
                  <a:pt x="0" y="487873"/>
                  <a:pt x="230571" y="257146"/>
                  <a:pt x="515705" y="257146"/>
                </a:cubicBezTo>
                <a:cubicBezTo>
                  <a:pt x="515705" y="257146"/>
                  <a:pt x="515705" y="257146"/>
                  <a:pt x="971566" y="257146"/>
                </a:cubicBezTo>
                <a:cubicBezTo>
                  <a:pt x="1112373" y="98632"/>
                  <a:pt x="1316543" y="0"/>
                  <a:pt x="1545353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395" tIns="45698" rIns="91395" bIns="45698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2399" dirty="0"/>
          </a:p>
        </p:txBody>
      </p:sp>
      <p:sp>
        <p:nvSpPr>
          <p:cNvPr id="55" name="Freihandform: Form 37">
            <a:extLst>
              <a:ext uri="{FF2B5EF4-FFF2-40B4-BE49-F238E27FC236}">
                <a16:creationId xmlns:a16="http://schemas.microsoft.com/office/drawing/2014/main" id="{F73F9915-8E3A-6747-9FCB-A80ADDA293B3}"/>
              </a:ext>
            </a:extLst>
          </p:cNvPr>
          <p:cNvSpPr>
            <a:spLocks/>
          </p:cNvSpPr>
          <p:nvPr/>
        </p:nvSpPr>
        <p:spPr bwMode="auto">
          <a:xfrm>
            <a:off x="6265093" y="4945805"/>
            <a:ext cx="382160" cy="382514"/>
          </a:xfrm>
          <a:custGeom>
            <a:avLst/>
            <a:gdLst>
              <a:gd name="connsiteX0" fmla="*/ 2140970 w 6851649"/>
              <a:gd name="connsiteY0" fmla="*/ 5400675 h 6858000"/>
              <a:gd name="connsiteX1" fmla="*/ 3425824 w 6851649"/>
              <a:gd name="connsiteY1" fmla="*/ 6004035 h 6858000"/>
              <a:gd name="connsiteX2" fmla="*/ 4710679 w 6851649"/>
              <a:gd name="connsiteY2" fmla="*/ 5400675 h 6858000"/>
              <a:gd name="connsiteX3" fmla="*/ 5994172 w 6851649"/>
              <a:gd name="connsiteY3" fmla="*/ 6004035 h 6858000"/>
              <a:gd name="connsiteX4" fmla="*/ 6851649 w 6851649"/>
              <a:gd name="connsiteY4" fmla="*/ 5584543 h 6858000"/>
              <a:gd name="connsiteX5" fmla="*/ 6851649 w 6851649"/>
              <a:gd name="connsiteY5" fmla="*/ 6438509 h 6858000"/>
              <a:gd name="connsiteX6" fmla="*/ 5994172 w 6851649"/>
              <a:gd name="connsiteY6" fmla="*/ 6858000 h 6858000"/>
              <a:gd name="connsiteX7" fmla="*/ 4710679 w 6851649"/>
              <a:gd name="connsiteY7" fmla="*/ 6254640 h 6858000"/>
              <a:gd name="connsiteX8" fmla="*/ 3425824 w 6851649"/>
              <a:gd name="connsiteY8" fmla="*/ 6858000 h 6858000"/>
              <a:gd name="connsiteX9" fmla="*/ 2140970 w 6851649"/>
              <a:gd name="connsiteY9" fmla="*/ 6254640 h 6858000"/>
              <a:gd name="connsiteX10" fmla="*/ 857477 w 6851649"/>
              <a:gd name="connsiteY10" fmla="*/ 6858000 h 6858000"/>
              <a:gd name="connsiteX11" fmla="*/ 0 w 6851649"/>
              <a:gd name="connsiteY11" fmla="*/ 6424889 h 6858000"/>
              <a:gd name="connsiteX12" fmla="*/ 0 w 6851649"/>
              <a:gd name="connsiteY12" fmla="*/ 5570923 h 6858000"/>
              <a:gd name="connsiteX13" fmla="*/ 857477 w 6851649"/>
              <a:gd name="connsiteY13" fmla="*/ 6004035 h 6858000"/>
              <a:gd name="connsiteX14" fmla="*/ 2140970 w 6851649"/>
              <a:gd name="connsiteY14" fmla="*/ 5400675 h 6858000"/>
              <a:gd name="connsiteX15" fmla="*/ 3427867 w 6851649"/>
              <a:gd name="connsiteY15" fmla="*/ 2271944 h 6858000"/>
              <a:gd name="connsiteX16" fmla="*/ 3591906 w 6851649"/>
              <a:gd name="connsiteY16" fmla="*/ 2296453 h 6858000"/>
              <a:gd name="connsiteX17" fmla="*/ 5572636 w 6851649"/>
              <a:gd name="connsiteY17" fmla="*/ 3098423 h 6858000"/>
              <a:gd name="connsiteX18" fmla="*/ 5891187 w 6851649"/>
              <a:gd name="connsiteY18" fmla="*/ 3584507 h 6858000"/>
              <a:gd name="connsiteX19" fmla="*/ 5369799 w 6851649"/>
              <a:gd name="connsiteY19" fmla="*/ 5583306 h 6858000"/>
              <a:gd name="connsiteX20" fmla="*/ 4710917 w 6851649"/>
              <a:gd name="connsiteY20" fmla="*/ 5229295 h 6858000"/>
              <a:gd name="connsiteX21" fmla="*/ 3425825 w 6851649"/>
              <a:gd name="connsiteY21" fmla="*/ 5832475 h 6858000"/>
              <a:gd name="connsiteX22" fmla="*/ 2140733 w 6851649"/>
              <a:gd name="connsiteY22" fmla="*/ 5229295 h 6858000"/>
              <a:gd name="connsiteX23" fmla="*/ 1480490 w 6851649"/>
              <a:gd name="connsiteY23" fmla="*/ 5580583 h 6858000"/>
              <a:gd name="connsiteX24" fmla="*/ 960463 w 6851649"/>
              <a:gd name="connsiteY24" fmla="*/ 3584507 h 6858000"/>
              <a:gd name="connsiteX25" fmla="*/ 1279013 w 6851649"/>
              <a:gd name="connsiteY25" fmla="*/ 3098423 h 6858000"/>
              <a:gd name="connsiteX26" fmla="*/ 3259743 w 6851649"/>
              <a:gd name="connsiteY26" fmla="*/ 2296453 h 6858000"/>
              <a:gd name="connsiteX27" fmla="*/ 3427867 w 6851649"/>
              <a:gd name="connsiteY27" fmla="*/ 2271944 h 6858000"/>
              <a:gd name="connsiteX28" fmla="*/ 2141849 w 6851649"/>
              <a:gd name="connsiteY28" fmla="*/ 1884362 h 6858000"/>
              <a:gd name="connsiteX29" fmla="*/ 4711388 w 6851649"/>
              <a:gd name="connsiteY29" fmla="*/ 1884362 h 6858000"/>
              <a:gd name="connsiteX30" fmla="*/ 5138737 w 6851649"/>
              <a:gd name="connsiteY30" fmla="*/ 2311491 h 6858000"/>
              <a:gd name="connsiteX31" fmla="*/ 5138737 w 6851649"/>
              <a:gd name="connsiteY31" fmla="*/ 2597150 h 6858000"/>
              <a:gd name="connsiteX32" fmla="*/ 3426618 w 6851649"/>
              <a:gd name="connsiteY32" fmla="*/ 2055758 h 6858000"/>
              <a:gd name="connsiteX33" fmla="*/ 1714500 w 6851649"/>
              <a:gd name="connsiteY33" fmla="*/ 2597150 h 6858000"/>
              <a:gd name="connsiteX34" fmla="*/ 1714500 w 6851649"/>
              <a:gd name="connsiteY34" fmla="*/ 2311491 h 6858000"/>
              <a:gd name="connsiteX35" fmla="*/ 2141849 w 6851649"/>
              <a:gd name="connsiteY35" fmla="*/ 1884362 h 6858000"/>
              <a:gd name="connsiteX36" fmla="*/ 2570087 w 6851649"/>
              <a:gd name="connsiteY36" fmla="*/ 1027112 h 6858000"/>
              <a:gd name="connsiteX37" fmla="*/ 4281563 w 6851649"/>
              <a:gd name="connsiteY37" fmla="*/ 1027112 h 6858000"/>
              <a:gd name="connsiteX38" fmla="*/ 4710112 w 6851649"/>
              <a:gd name="connsiteY38" fmla="*/ 1455226 h 6858000"/>
              <a:gd name="connsiteX39" fmla="*/ 4710112 w 6851649"/>
              <a:gd name="connsiteY39" fmla="*/ 1712912 h 6858000"/>
              <a:gd name="connsiteX40" fmla="*/ 2141538 w 6851649"/>
              <a:gd name="connsiteY40" fmla="*/ 1712912 h 6858000"/>
              <a:gd name="connsiteX41" fmla="*/ 2141538 w 6851649"/>
              <a:gd name="connsiteY41" fmla="*/ 1455226 h 6858000"/>
              <a:gd name="connsiteX42" fmla="*/ 2570087 w 6851649"/>
              <a:gd name="connsiteY42" fmla="*/ 1027112 h 6858000"/>
              <a:gd name="connsiteX43" fmla="*/ 3854336 w 6851649"/>
              <a:gd name="connsiteY43" fmla="*/ 0 h 6858000"/>
              <a:gd name="connsiteX44" fmla="*/ 4281487 w 6851649"/>
              <a:gd name="connsiteY44" fmla="*/ 427151 h 6858000"/>
              <a:gd name="connsiteX45" fmla="*/ 4281487 w 6851649"/>
              <a:gd name="connsiteY45" fmla="*/ 855663 h 6858000"/>
              <a:gd name="connsiteX46" fmla="*/ 3425824 w 6851649"/>
              <a:gd name="connsiteY46" fmla="*/ 855663 h 6858000"/>
              <a:gd name="connsiteX47" fmla="*/ 3425824 w 6851649"/>
              <a:gd name="connsiteY47" fmla="*/ 427151 h 6858000"/>
              <a:gd name="connsiteX48" fmla="*/ 3854336 w 6851649"/>
              <a:gd name="connsiteY4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6851649" h="6858000">
                <a:moveTo>
                  <a:pt x="2140970" y="5400675"/>
                </a:moveTo>
                <a:cubicBezTo>
                  <a:pt x="2609180" y="5400675"/>
                  <a:pt x="2826952" y="6004035"/>
                  <a:pt x="3425824" y="6004035"/>
                </a:cubicBezTo>
                <a:cubicBezTo>
                  <a:pt x="4024697" y="6004035"/>
                  <a:pt x="4242469" y="5400675"/>
                  <a:pt x="4710679" y="5400675"/>
                </a:cubicBezTo>
                <a:cubicBezTo>
                  <a:pt x="5177527" y="5400675"/>
                  <a:pt x="5396660" y="6004035"/>
                  <a:pt x="5994172" y="6004035"/>
                </a:cubicBezTo>
                <a:cubicBezTo>
                  <a:pt x="6373912" y="6004035"/>
                  <a:pt x="6614822" y="5761602"/>
                  <a:pt x="6851649" y="5584543"/>
                </a:cubicBezTo>
                <a:cubicBezTo>
                  <a:pt x="6851649" y="5584543"/>
                  <a:pt x="6851649" y="5584543"/>
                  <a:pt x="6851649" y="6438509"/>
                </a:cubicBezTo>
                <a:cubicBezTo>
                  <a:pt x="6614822" y="6615567"/>
                  <a:pt x="6373912" y="6858000"/>
                  <a:pt x="5994172" y="6858000"/>
                </a:cubicBezTo>
                <a:cubicBezTo>
                  <a:pt x="5396660" y="6858000"/>
                  <a:pt x="5177527" y="6254640"/>
                  <a:pt x="4710679" y="6254640"/>
                </a:cubicBezTo>
                <a:cubicBezTo>
                  <a:pt x="4242469" y="6254640"/>
                  <a:pt x="4024697" y="6858000"/>
                  <a:pt x="3425824" y="6858000"/>
                </a:cubicBezTo>
                <a:cubicBezTo>
                  <a:pt x="2826952" y="6858000"/>
                  <a:pt x="2609180" y="6254640"/>
                  <a:pt x="2140970" y="6254640"/>
                </a:cubicBezTo>
                <a:cubicBezTo>
                  <a:pt x="1674122" y="6254640"/>
                  <a:pt x="1445461" y="6858000"/>
                  <a:pt x="857477" y="6858000"/>
                </a:cubicBezTo>
                <a:cubicBezTo>
                  <a:pt x="473654" y="6858000"/>
                  <a:pt x="243632" y="6603309"/>
                  <a:pt x="0" y="6424889"/>
                </a:cubicBezTo>
                <a:cubicBezTo>
                  <a:pt x="0" y="6424889"/>
                  <a:pt x="0" y="6424889"/>
                  <a:pt x="0" y="5570923"/>
                </a:cubicBezTo>
                <a:cubicBezTo>
                  <a:pt x="243632" y="5749344"/>
                  <a:pt x="473654" y="6004035"/>
                  <a:pt x="857477" y="6004035"/>
                </a:cubicBezTo>
                <a:cubicBezTo>
                  <a:pt x="1445461" y="6004035"/>
                  <a:pt x="1674122" y="5400675"/>
                  <a:pt x="2140970" y="5400675"/>
                </a:cubicBezTo>
                <a:close/>
                <a:moveTo>
                  <a:pt x="3427867" y="2271944"/>
                </a:moveTo>
                <a:cubicBezTo>
                  <a:pt x="3469387" y="2271944"/>
                  <a:pt x="3510227" y="2280114"/>
                  <a:pt x="3591906" y="2296453"/>
                </a:cubicBezTo>
                <a:cubicBezTo>
                  <a:pt x="3591906" y="2296453"/>
                  <a:pt x="3591906" y="2296453"/>
                  <a:pt x="5572636" y="3098423"/>
                </a:cubicBezTo>
                <a:cubicBezTo>
                  <a:pt x="5805423" y="3136547"/>
                  <a:pt x="5948362" y="3355762"/>
                  <a:pt x="5891187" y="3584507"/>
                </a:cubicBezTo>
                <a:cubicBezTo>
                  <a:pt x="5891187" y="3584507"/>
                  <a:pt x="5891187" y="3584507"/>
                  <a:pt x="5369799" y="5583306"/>
                </a:cubicBezTo>
                <a:cubicBezTo>
                  <a:pt x="5154709" y="5417193"/>
                  <a:pt x="4972291" y="5229295"/>
                  <a:pt x="4710917" y="5229295"/>
                </a:cubicBezTo>
                <a:cubicBezTo>
                  <a:pt x="4242620" y="5229295"/>
                  <a:pt x="4024808" y="5832475"/>
                  <a:pt x="3425825" y="5832475"/>
                </a:cubicBezTo>
                <a:cubicBezTo>
                  <a:pt x="2826841" y="5832475"/>
                  <a:pt x="2609029" y="5229295"/>
                  <a:pt x="2140733" y="5229295"/>
                </a:cubicBezTo>
                <a:cubicBezTo>
                  <a:pt x="1882081" y="5229295"/>
                  <a:pt x="1695580" y="5415832"/>
                  <a:pt x="1480490" y="5580583"/>
                </a:cubicBezTo>
                <a:lnTo>
                  <a:pt x="960463" y="3584507"/>
                </a:lnTo>
                <a:cubicBezTo>
                  <a:pt x="903287" y="3355762"/>
                  <a:pt x="1046227" y="3136547"/>
                  <a:pt x="1279013" y="3098423"/>
                </a:cubicBezTo>
                <a:cubicBezTo>
                  <a:pt x="1279013" y="3098423"/>
                  <a:pt x="1279013" y="3098423"/>
                  <a:pt x="3259743" y="2296453"/>
                </a:cubicBezTo>
                <a:cubicBezTo>
                  <a:pt x="3344145" y="2280114"/>
                  <a:pt x="3386346" y="2271944"/>
                  <a:pt x="3427867" y="2271944"/>
                </a:cubicBezTo>
                <a:close/>
                <a:moveTo>
                  <a:pt x="2141849" y="1884362"/>
                </a:moveTo>
                <a:cubicBezTo>
                  <a:pt x="2141849" y="1884362"/>
                  <a:pt x="2141849" y="1884362"/>
                  <a:pt x="4711388" y="1884362"/>
                </a:cubicBezTo>
                <a:cubicBezTo>
                  <a:pt x="4946838" y="1884362"/>
                  <a:pt x="5138737" y="2076162"/>
                  <a:pt x="5138737" y="2311491"/>
                </a:cubicBezTo>
                <a:cubicBezTo>
                  <a:pt x="5138737" y="2311491"/>
                  <a:pt x="5138737" y="2311491"/>
                  <a:pt x="5138737" y="2597150"/>
                </a:cubicBezTo>
                <a:lnTo>
                  <a:pt x="3426618" y="2055758"/>
                </a:lnTo>
                <a:cubicBezTo>
                  <a:pt x="3426618" y="2055758"/>
                  <a:pt x="3426618" y="2055758"/>
                  <a:pt x="1714500" y="2597150"/>
                </a:cubicBezTo>
                <a:cubicBezTo>
                  <a:pt x="1714500" y="2597150"/>
                  <a:pt x="1714500" y="2597150"/>
                  <a:pt x="1714500" y="2311491"/>
                </a:cubicBezTo>
                <a:cubicBezTo>
                  <a:pt x="1714500" y="2076162"/>
                  <a:pt x="1906399" y="1884362"/>
                  <a:pt x="2141849" y="1884362"/>
                </a:cubicBezTo>
                <a:close/>
                <a:moveTo>
                  <a:pt x="2570087" y="1027112"/>
                </a:moveTo>
                <a:cubicBezTo>
                  <a:pt x="2570087" y="1027112"/>
                  <a:pt x="2570087" y="1027112"/>
                  <a:pt x="4281563" y="1027112"/>
                </a:cubicBezTo>
                <a:cubicBezTo>
                  <a:pt x="4516925" y="1027112"/>
                  <a:pt x="4710112" y="1219354"/>
                  <a:pt x="4710112" y="1455226"/>
                </a:cubicBezTo>
                <a:lnTo>
                  <a:pt x="4710112" y="1712912"/>
                </a:lnTo>
                <a:cubicBezTo>
                  <a:pt x="4710112" y="1712912"/>
                  <a:pt x="4710112" y="1712912"/>
                  <a:pt x="2141538" y="1712912"/>
                </a:cubicBezTo>
                <a:cubicBezTo>
                  <a:pt x="2141538" y="1712912"/>
                  <a:pt x="2141538" y="1712912"/>
                  <a:pt x="2141538" y="1455226"/>
                </a:cubicBezTo>
                <a:cubicBezTo>
                  <a:pt x="2141538" y="1219354"/>
                  <a:pt x="2334724" y="1027112"/>
                  <a:pt x="2570087" y="1027112"/>
                </a:cubicBezTo>
                <a:close/>
                <a:moveTo>
                  <a:pt x="3854336" y="0"/>
                </a:moveTo>
                <a:cubicBezTo>
                  <a:pt x="4089677" y="0"/>
                  <a:pt x="4281487" y="191810"/>
                  <a:pt x="4281487" y="427151"/>
                </a:cubicBezTo>
                <a:lnTo>
                  <a:pt x="4281487" y="855663"/>
                </a:lnTo>
                <a:cubicBezTo>
                  <a:pt x="4281487" y="855663"/>
                  <a:pt x="4281487" y="855663"/>
                  <a:pt x="3425824" y="855663"/>
                </a:cubicBezTo>
                <a:cubicBezTo>
                  <a:pt x="3425824" y="855663"/>
                  <a:pt x="3425824" y="855663"/>
                  <a:pt x="3425824" y="427151"/>
                </a:cubicBezTo>
                <a:cubicBezTo>
                  <a:pt x="3425824" y="191810"/>
                  <a:pt x="3618995" y="0"/>
                  <a:pt x="3854336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395" tIns="45698" rIns="91395" bIns="45698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2399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022CBB-D0A5-6448-8362-F8F762F9A5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y-NL" dirty="0"/>
              <a:t>TUI Group | CTO  - Pieter Jordaan  | DOES Keynote|  2021</a:t>
            </a:r>
          </a:p>
        </p:txBody>
      </p:sp>
      <p:pic>
        <p:nvPicPr>
          <p:cNvPr id="54" name="Picture 22" descr="C:\Users\lorensi\Pictures\icons\sync.png">
            <a:extLst>
              <a:ext uri="{FF2B5EF4-FFF2-40B4-BE49-F238E27FC236}">
                <a16:creationId xmlns:a16="http://schemas.microsoft.com/office/drawing/2014/main" id="{C7920C8A-C4A6-2842-B409-D1BAE44AD4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33561" y="111136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7" descr="C:\Users\lorensi\Pictures\icons\aircraft-down--fill.png">
            <a:extLst>
              <a:ext uri="{FF2B5EF4-FFF2-40B4-BE49-F238E27FC236}">
                <a16:creationId xmlns:a16="http://schemas.microsoft.com/office/drawing/2014/main" id="{A40CD8BA-5C2B-164E-B33D-B180C09FFD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10651" y="4884548"/>
            <a:ext cx="505028" cy="505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B5FC6465-4ED7-1349-9097-BB473E352EEB}"/>
              </a:ext>
            </a:extLst>
          </p:cNvPr>
          <p:cNvSpPr txBox="1"/>
          <p:nvPr/>
        </p:nvSpPr>
        <p:spPr>
          <a:xfrm>
            <a:off x="2247728" y="6048399"/>
            <a:ext cx="8769893" cy="443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uring COVID we achieved in months what would have taken years</a:t>
            </a:r>
          </a:p>
        </p:txBody>
      </p:sp>
    </p:spTree>
    <p:extLst>
      <p:ext uri="{BB962C8B-B14F-4D97-AF65-F5344CB8AC3E}">
        <p14:creationId xmlns:p14="http://schemas.microsoft.com/office/powerpoint/2010/main" val="4054083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0">
        <p:fade/>
      </p:transition>
    </mc:Choice>
    <mc:Fallback xmlns="">
      <p:transition spd="med" advClick="0" advTm="0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8" name="Picture 77">
            <a:extLst>
              <a:ext uri="{FF2B5EF4-FFF2-40B4-BE49-F238E27FC236}">
                <a16:creationId xmlns:a16="http://schemas.microsoft.com/office/drawing/2014/main" id="{9FE16A05-17BA-9F46-908F-30FCDF7AED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34860" y="-12743"/>
            <a:ext cx="11522075" cy="648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E69B1E5-1495-1146-AD77-73888308AA32}"/>
              </a:ext>
            </a:extLst>
          </p:cNvPr>
          <p:cNvSpPr txBox="1"/>
          <p:nvPr/>
        </p:nvSpPr>
        <p:spPr>
          <a:xfrm>
            <a:off x="288429" y="237380"/>
            <a:ext cx="11125097" cy="6186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600" b="1" dirty="0">
                <a:solidFill>
                  <a:schemeClr val="bg1"/>
                </a:solidFill>
              </a:rPr>
              <a:t>Our Transformation Goals was similar to most companies</a:t>
            </a:r>
          </a:p>
        </p:txBody>
      </p:sp>
      <p:sp>
        <p:nvSpPr>
          <p:cNvPr id="156" name="Rechteck 14">
            <a:extLst>
              <a:ext uri="{FF2B5EF4-FFF2-40B4-BE49-F238E27FC236}">
                <a16:creationId xmlns:a16="http://schemas.microsoft.com/office/drawing/2014/main" id="{C3B189D3-1668-A442-800B-D6BC1B50E4F1}"/>
              </a:ext>
            </a:extLst>
          </p:cNvPr>
          <p:cNvSpPr/>
          <p:nvPr/>
        </p:nvSpPr>
        <p:spPr bwMode="gray">
          <a:xfrm>
            <a:off x="432445" y="2677323"/>
            <a:ext cx="10441160" cy="76601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buClr>
                <a:srgbClr val="9B9B9B"/>
              </a:buClr>
            </a:pPr>
            <a:r>
              <a:rPr lang="de-DE" kern="0" dirty="0" err="1">
                <a:latin typeface="+mn-lt"/>
              </a:rPr>
              <a:t>Consolidate</a:t>
            </a:r>
            <a:r>
              <a:rPr lang="de-DE" kern="0" dirty="0">
                <a:latin typeface="+mn-lt"/>
              </a:rPr>
              <a:t> IT &amp; Business </a:t>
            </a:r>
            <a:r>
              <a:rPr lang="de-DE" kern="0" dirty="0" err="1">
                <a:latin typeface="+mn-lt"/>
              </a:rPr>
              <a:t>capabilities</a:t>
            </a:r>
            <a:r>
              <a:rPr lang="de-DE" kern="0" dirty="0">
                <a:latin typeface="+mn-lt"/>
              </a:rPr>
              <a:t> but </a:t>
            </a:r>
            <a:r>
              <a:rPr lang="de-DE" kern="0" dirty="0" err="1">
                <a:latin typeface="+mn-lt"/>
              </a:rPr>
              <a:t>serving</a:t>
            </a:r>
            <a:r>
              <a:rPr lang="de-DE" kern="0" dirty="0">
                <a:latin typeface="+mn-lt"/>
              </a:rPr>
              <a:t>  </a:t>
            </a:r>
            <a:r>
              <a:rPr lang="de-DE" kern="0" dirty="0" err="1">
                <a:latin typeface="+mn-lt"/>
              </a:rPr>
              <a:t>local</a:t>
            </a:r>
            <a:r>
              <a:rPr lang="de-DE" kern="0" dirty="0">
                <a:latin typeface="+mn-lt"/>
              </a:rPr>
              <a:t> </a:t>
            </a:r>
            <a:r>
              <a:rPr lang="de-DE" kern="0" dirty="0" err="1">
                <a:latin typeface="+mn-lt"/>
              </a:rPr>
              <a:t>markets</a:t>
            </a:r>
            <a:endParaRPr lang="de-DE" b="1" kern="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212" name="Rechteck 14">
            <a:extLst>
              <a:ext uri="{FF2B5EF4-FFF2-40B4-BE49-F238E27FC236}">
                <a16:creationId xmlns:a16="http://schemas.microsoft.com/office/drawing/2014/main" id="{0DD05BBC-9DCA-2F40-BFCC-DC55FEC8FAFA}"/>
              </a:ext>
            </a:extLst>
          </p:cNvPr>
          <p:cNvSpPr/>
          <p:nvPr/>
        </p:nvSpPr>
        <p:spPr bwMode="gray">
          <a:xfrm>
            <a:off x="443969" y="3772714"/>
            <a:ext cx="8746419" cy="792088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buClr>
                <a:srgbClr val="9B9B9B"/>
              </a:buClr>
            </a:pPr>
            <a:r>
              <a:rPr lang="en-US" dirty="0">
                <a:latin typeface="+mn-lt"/>
              </a:rPr>
              <a:t>Single IT platform based on Cloud, DevOps and Flow</a:t>
            </a:r>
            <a:endParaRPr lang="de-DE" kern="0" dirty="0">
              <a:latin typeface="+mn-lt"/>
            </a:endParaRPr>
          </a:p>
        </p:txBody>
      </p: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139AC4EA-5D06-E940-BEAA-C9751C253249}"/>
              </a:ext>
            </a:extLst>
          </p:cNvPr>
          <p:cNvGrpSpPr/>
          <p:nvPr/>
        </p:nvGrpSpPr>
        <p:grpSpPr>
          <a:xfrm>
            <a:off x="9971696" y="2680102"/>
            <a:ext cx="720080" cy="648072"/>
            <a:chOff x="5517381" y="1772614"/>
            <a:chExt cx="309817" cy="347059"/>
          </a:xfrm>
          <a:solidFill>
            <a:schemeClr val="tx1"/>
          </a:solidFill>
        </p:grpSpPr>
        <p:sp>
          <p:nvSpPr>
            <p:cNvPr id="217" name="Rectangle 38">
              <a:extLst>
                <a:ext uri="{FF2B5EF4-FFF2-40B4-BE49-F238E27FC236}">
                  <a16:creationId xmlns:a16="http://schemas.microsoft.com/office/drawing/2014/main" id="{69160AB5-4198-E746-ACDE-7B3F79CA1A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2576" y="1851851"/>
              <a:ext cx="20602" cy="206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8" name="Rectangle 39">
              <a:extLst>
                <a:ext uri="{FF2B5EF4-FFF2-40B4-BE49-F238E27FC236}">
                  <a16:creationId xmlns:a16="http://schemas.microsoft.com/office/drawing/2014/main" id="{B3F8287A-251E-6F4F-B5B4-C5CBF7F75B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1402" y="1851851"/>
              <a:ext cx="20602" cy="206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9" name="Rectangle 40">
              <a:extLst>
                <a:ext uri="{FF2B5EF4-FFF2-40B4-BE49-F238E27FC236}">
                  <a16:creationId xmlns:a16="http://schemas.microsoft.com/office/drawing/2014/main" id="{30DDDACC-8F13-DB42-B2F1-C7D99EBE85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2576" y="1893055"/>
              <a:ext cx="20602" cy="206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0" name="Rectangle 41">
              <a:extLst>
                <a:ext uri="{FF2B5EF4-FFF2-40B4-BE49-F238E27FC236}">
                  <a16:creationId xmlns:a16="http://schemas.microsoft.com/office/drawing/2014/main" id="{024C68DF-51F1-7642-B097-DA5E189A5F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1402" y="1893055"/>
              <a:ext cx="20602" cy="206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1" name="Rectangle 42">
              <a:extLst>
                <a:ext uri="{FF2B5EF4-FFF2-40B4-BE49-F238E27FC236}">
                  <a16:creationId xmlns:a16="http://schemas.microsoft.com/office/drawing/2014/main" id="{E2B5BED3-9E1C-1848-BA75-25E9D46EF3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7000" y="1974669"/>
              <a:ext cx="20602" cy="206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2" name="Rectangle 43">
              <a:extLst>
                <a:ext uri="{FF2B5EF4-FFF2-40B4-BE49-F238E27FC236}">
                  <a16:creationId xmlns:a16="http://schemas.microsoft.com/office/drawing/2014/main" id="{9C966654-1165-3943-A536-2535CEC6CC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7000" y="2098279"/>
              <a:ext cx="20602" cy="1980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3" name="Rectangle 44">
              <a:extLst>
                <a:ext uri="{FF2B5EF4-FFF2-40B4-BE49-F238E27FC236}">
                  <a16:creationId xmlns:a16="http://schemas.microsoft.com/office/drawing/2014/main" id="{EF028CF1-59E5-B54C-8931-4A4D897B00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7000" y="2057076"/>
              <a:ext cx="20602" cy="206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4" name="Rectangle 45">
              <a:extLst>
                <a:ext uri="{FF2B5EF4-FFF2-40B4-BE49-F238E27FC236}">
                  <a16:creationId xmlns:a16="http://schemas.microsoft.com/office/drawing/2014/main" id="{C70AC3EA-6277-9E46-98DA-EC43A516F2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7000" y="2015872"/>
              <a:ext cx="20602" cy="206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5" name="Rectangle 46">
              <a:extLst>
                <a:ext uri="{FF2B5EF4-FFF2-40B4-BE49-F238E27FC236}">
                  <a16:creationId xmlns:a16="http://schemas.microsoft.com/office/drawing/2014/main" id="{176E06B4-013E-3B41-B2E3-80A5090866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66978" y="2098279"/>
              <a:ext cx="20602" cy="1980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6" name="Rectangle 47">
              <a:extLst>
                <a:ext uri="{FF2B5EF4-FFF2-40B4-BE49-F238E27FC236}">
                  <a16:creationId xmlns:a16="http://schemas.microsoft.com/office/drawing/2014/main" id="{BA85ED2A-AE01-3D42-B25E-6908E7AAD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66978" y="2057076"/>
              <a:ext cx="20602" cy="206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7" name="Rectangle 48">
              <a:extLst>
                <a:ext uri="{FF2B5EF4-FFF2-40B4-BE49-F238E27FC236}">
                  <a16:creationId xmlns:a16="http://schemas.microsoft.com/office/drawing/2014/main" id="{C5639002-F2CA-5440-B64E-7B22EBA56B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66978" y="2015872"/>
              <a:ext cx="20602" cy="206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8" name="Rectangle 49">
              <a:extLst>
                <a:ext uri="{FF2B5EF4-FFF2-40B4-BE49-F238E27FC236}">
                  <a16:creationId xmlns:a16="http://schemas.microsoft.com/office/drawing/2014/main" id="{775C4B3A-AD61-B940-9309-1E7AC0D1A2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2576" y="2099071"/>
              <a:ext cx="20602" cy="206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9" name="Rectangle 50">
              <a:extLst>
                <a:ext uri="{FF2B5EF4-FFF2-40B4-BE49-F238E27FC236}">
                  <a16:creationId xmlns:a16="http://schemas.microsoft.com/office/drawing/2014/main" id="{C8F4706A-FCFE-0A4F-8F56-856B60945F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1402" y="2099071"/>
              <a:ext cx="20602" cy="206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0" name="Rectangle 51">
              <a:extLst>
                <a:ext uri="{FF2B5EF4-FFF2-40B4-BE49-F238E27FC236}">
                  <a16:creationId xmlns:a16="http://schemas.microsoft.com/office/drawing/2014/main" id="{912C7DA4-AB65-3140-A55E-32A2DB86DD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2576" y="2057868"/>
              <a:ext cx="20602" cy="206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1" name="Rectangle 52">
              <a:extLst>
                <a:ext uri="{FF2B5EF4-FFF2-40B4-BE49-F238E27FC236}">
                  <a16:creationId xmlns:a16="http://schemas.microsoft.com/office/drawing/2014/main" id="{1CA994E2-34A9-B94E-89AA-51BF9C7E23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1402" y="2057868"/>
              <a:ext cx="20602" cy="206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2" name="Rectangle 53">
              <a:extLst>
                <a:ext uri="{FF2B5EF4-FFF2-40B4-BE49-F238E27FC236}">
                  <a16:creationId xmlns:a16="http://schemas.microsoft.com/office/drawing/2014/main" id="{D6FF3DDC-FEA1-974D-8000-D24F38740E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2576" y="2016665"/>
              <a:ext cx="20602" cy="206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3" name="Rectangle 54">
              <a:extLst>
                <a:ext uri="{FF2B5EF4-FFF2-40B4-BE49-F238E27FC236}">
                  <a16:creationId xmlns:a16="http://schemas.microsoft.com/office/drawing/2014/main" id="{A60A9F2B-2CFA-654B-8551-5B01D110C6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1402" y="2016665"/>
              <a:ext cx="20602" cy="206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4" name="Rectangle 55">
              <a:extLst>
                <a:ext uri="{FF2B5EF4-FFF2-40B4-BE49-F238E27FC236}">
                  <a16:creationId xmlns:a16="http://schemas.microsoft.com/office/drawing/2014/main" id="{90F7B2F4-343C-E841-A88B-5F39C9E585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2576" y="1975461"/>
              <a:ext cx="20602" cy="206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5" name="Rectangle 56">
              <a:extLst>
                <a:ext uri="{FF2B5EF4-FFF2-40B4-BE49-F238E27FC236}">
                  <a16:creationId xmlns:a16="http://schemas.microsoft.com/office/drawing/2014/main" id="{E4474982-A07F-5C4B-B144-343FD160FE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1402" y="1975461"/>
              <a:ext cx="20602" cy="206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6" name="Rectangle 57">
              <a:extLst>
                <a:ext uri="{FF2B5EF4-FFF2-40B4-BE49-F238E27FC236}">
                  <a16:creationId xmlns:a16="http://schemas.microsoft.com/office/drawing/2014/main" id="{E031FE57-ED53-2247-B907-FB0C087C86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2576" y="1934258"/>
              <a:ext cx="20602" cy="206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7" name="Rectangle 58">
              <a:extLst>
                <a:ext uri="{FF2B5EF4-FFF2-40B4-BE49-F238E27FC236}">
                  <a16:creationId xmlns:a16="http://schemas.microsoft.com/office/drawing/2014/main" id="{49B5663E-EB62-9F49-8A81-9B61956717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1402" y="1934258"/>
              <a:ext cx="20602" cy="206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8" name="Freeform 59">
              <a:extLst>
                <a:ext uri="{FF2B5EF4-FFF2-40B4-BE49-F238E27FC236}">
                  <a16:creationId xmlns:a16="http://schemas.microsoft.com/office/drawing/2014/main" id="{AC0605B6-EF05-2C42-AA7E-E31933A68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7381" y="1935050"/>
              <a:ext cx="60220" cy="184623"/>
            </a:xfrm>
            <a:custGeom>
              <a:avLst/>
              <a:gdLst>
                <a:gd name="T0" fmla="*/ 0 w 152"/>
                <a:gd name="T1" fmla="*/ 65 h 466"/>
                <a:gd name="T2" fmla="*/ 0 w 152"/>
                <a:gd name="T3" fmla="*/ 466 h 466"/>
                <a:gd name="T4" fmla="*/ 44 w 152"/>
                <a:gd name="T5" fmla="*/ 466 h 466"/>
                <a:gd name="T6" fmla="*/ 44 w 152"/>
                <a:gd name="T7" fmla="*/ 65 h 466"/>
                <a:gd name="T8" fmla="*/ 44 w 152"/>
                <a:gd name="T9" fmla="*/ 65 h 466"/>
                <a:gd name="T10" fmla="*/ 46 w 152"/>
                <a:gd name="T11" fmla="*/ 58 h 466"/>
                <a:gd name="T12" fmla="*/ 52 w 152"/>
                <a:gd name="T13" fmla="*/ 52 h 466"/>
                <a:gd name="T14" fmla="*/ 57 w 152"/>
                <a:gd name="T15" fmla="*/ 48 h 466"/>
                <a:gd name="T16" fmla="*/ 65 w 152"/>
                <a:gd name="T17" fmla="*/ 47 h 466"/>
                <a:gd name="T18" fmla="*/ 152 w 152"/>
                <a:gd name="T19" fmla="*/ 47 h 466"/>
                <a:gd name="T20" fmla="*/ 152 w 152"/>
                <a:gd name="T21" fmla="*/ 0 h 466"/>
                <a:gd name="T22" fmla="*/ 65 w 152"/>
                <a:gd name="T23" fmla="*/ 0 h 466"/>
                <a:gd name="T24" fmla="*/ 65 w 152"/>
                <a:gd name="T25" fmla="*/ 0 h 466"/>
                <a:gd name="T26" fmla="*/ 52 w 152"/>
                <a:gd name="T27" fmla="*/ 2 h 466"/>
                <a:gd name="T28" fmla="*/ 39 w 152"/>
                <a:gd name="T29" fmla="*/ 6 h 466"/>
                <a:gd name="T30" fmla="*/ 28 w 152"/>
                <a:gd name="T31" fmla="*/ 11 h 466"/>
                <a:gd name="T32" fmla="*/ 19 w 152"/>
                <a:gd name="T33" fmla="*/ 21 h 466"/>
                <a:gd name="T34" fmla="*/ 11 w 152"/>
                <a:gd name="T35" fmla="*/ 30 h 466"/>
                <a:gd name="T36" fmla="*/ 6 w 152"/>
                <a:gd name="T37" fmla="*/ 41 h 466"/>
                <a:gd name="T38" fmla="*/ 2 w 152"/>
                <a:gd name="T39" fmla="*/ 52 h 466"/>
                <a:gd name="T40" fmla="*/ 0 w 152"/>
                <a:gd name="T41" fmla="*/ 65 h 466"/>
                <a:gd name="T42" fmla="*/ 0 w 152"/>
                <a:gd name="T43" fmla="*/ 65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2" h="466">
                  <a:moveTo>
                    <a:pt x="0" y="65"/>
                  </a:moveTo>
                  <a:lnTo>
                    <a:pt x="0" y="466"/>
                  </a:lnTo>
                  <a:lnTo>
                    <a:pt x="44" y="466"/>
                  </a:lnTo>
                  <a:lnTo>
                    <a:pt x="44" y="65"/>
                  </a:lnTo>
                  <a:lnTo>
                    <a:pt x="44" y="65"/>
                  </a:lnTo>
                  <a:lnTo>
                    <a:pt x="46" y="58"/>
                  </a:lnTo>
                  <a:lnTo>
                    <a:pt x="52" y="52"/>
                  </a:lnTo>
                  <a:lnTo>
                    <a:pt x="57" y="48"/>
                  </a:lnTo>
                  <a:lnTo>
                    <a:pt x="65" y="47"/>
                  </a:lnTo>
                  <a:lnTo>
                    <a:pt x="152" y="47"/>
                  </a:lnTo>
                  <a:lnTo>
                    <a:pt x="152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52" y="2"/>
                  </a:lnTo>
                  <a:lnTo>
                    <a:pt x="39" y="6"/>
                  </a:lnTo>
                  <a:lnTo>
                    <a:pt x="28" y="11"/>
                  </a:lnTo>
                  <a:lnTo>
                    <a:pt x="19" y="21"/>
                  </a:lnTo>
                  <a:lnTo>
                    <a:pt x="11" y="30"/>
                  </a:lnTo>
                  <a:lnTo>
                    <a:pt x="6" y="41"/>
                  </a:lnTo>
                  <a:lnTo>
                    <a:pt x="2" y="52"/>
                  </a:lnTo>
                  <a:lnTo>
                    <a:pt x="0" y="65"/>
                  </a:lnTo>
                  <a:lnTo>
                    <a:pt x="0" y="6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9" name="Freeform 60">
              <a:extLst>
                <a:ext uri="{FF2B5EF4-FFF2-40B4-BE49-F238E27FC236}">
                  <a16:creationId xmlns:a16="http://schemas.microsoft.com/office/drawing/2014/main" id="{9435DAEA-09C7-F941-BE13-5C5568E44A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6978" y="1976254"/>
              <a:ext cx="60220" cy="143419"/>
            </a:xfrm>
            <a:custGeom>
              <a:avLst/>
              <a:gdLst>
                <a:gd name="T0" fmla="*/ 87 w 152"/>
                <a:gd name="T1" fmla="*/ 0 h 360"/>
                <a:gd name="T2" fmla="*/ 0 w 152"/>
                <a:gd name="T3" fmla="*/ 0 h 360"/>
                <a:gd name="T4" fmla="*/ 0 w 152"/>
                <a:gd name="T5" fmla="*/ 44 h 360"/>
                <a:gd name="T6" fmla="*/ 87 w 152"/>
                <a:gd name="T7" fmla="*/ 44 h 360"/>
                <a:gd name="T8" fmla="*/ 87 w 152"/>
                <a:gd name="T9" fmla="*/ 44 h 360"/>
                <a:gd name="T10" fmla="*/ 95 w 152"/>
                <a:gd name="T11" fmla="*/ 46 h 360"/>
                <a:gd name="T12" fmla="*/ 100 w 152"/>
                <a:gd name="T13" fmla="*/ 50 h 360"/>
                <a:gd name="T14" fmla="*/ 104 w 152"/>
                <a:gd name="T15" fmla="*/ 57 h 360"/>
                <a:gd name="T16" fmla="*/ 106 w 152"/>
                <a:gd name="T17" fmla="*/ 65 h 360"/>
                <a:gd name="T18" fmla="*/ 106 w 152"/>
                <a:gd name="T19" fmla="*/ 360 h 360"/>
                <a:gd name="T20" fmla="*/ 152 w 152"/>
                <a:gd name="T21" fmla="*/ 360 h 360"/>
                <a:gd name="T22" fmla="*/ 152 w 152"/>
                <a:gd name="T23" fmla="*/ 65 h 360"/>
                <a:gd name="T24" fmla="*/ 152 w 152"/>
                <a:gd name="T25" fmla="*/ 65 h 360"/>
                <a:gd name="T26" fmla="*/ 151 w 152"/>
                <a:gd name="T27" fmla="*/ 52 h 360"/>
                <a:gd name="T28" fmla="*/ 147 w 152"/>
                <a:gd name="T29" fmla="*/ 39 h 360"/>
                <a:gd name="T30" fmla="*/ 141 w 152"/>
                <a:gd name="T31" fmla="*/ 28 h 360"/>
                <a:gd name="T32" fmla="*/ 134 w 152"/>
                <a:gd name="T33" fmla="*/ 18 h 360"/>
                <a:gd name="T34" fmla="*/ 123 w 152"/>
                <a:gd name="T35" fmla="*/ 11 h 360"/>
                <a:gd name="T36" fmla="*/ 112 w 152"/>
                <a:gd name="T37" fmla="*/ 5 h 360"/>
                <a:gd name="T38" fmla="*/ 100 w 152"/>
                <a:gd name="T39" fmla="*/ 0 h 360"/>
                <a:gd name="T40" fmla="*/ 87 w 152"/>
                <a:gd name="T41" fmla="*/ 0 h 360"/>
                <a:gd name="T42" fmla="*/ 87 w 152"/>
                <a:gd name="T43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2" h="360">
                  <a:moveTo>
                    <a:pt x="87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87" y="44"/>
                  </a:lnTo>
                  <a:lnTo>
                    <a:pt x="87" y="44"/>
                  </a:lnTo>
                  <a:lnTo>
                    <a:pt x="95" y="46"/>
                  </a:lnTo>
                  <a:lnTo>
                    <a:pt x="100" y="50"/>
                  </a:lnTo>
                  <a:lnTo>
                    <a:pt x="104" y="57"/>
                  </a:lnTo>
                  <a:lnTo>
                    <a:pt x="106" y="65"/>
                  </a:lnTo>
                  <a:lnTo>
                    <a:pt x="106" y="360"/>
                  </a:lnTo>
                  <a:lnTo>
                    <a:pt x="152" y="360"/>
                  </a:lnTo>
                  <a:lnTo>
                    <a:pt x="152" y="65"/>
                  </a:lnTo>
                  <a:lnTo>
                    <a:pt x="152" y="65"/>
                  </a:lnTo>
                  <a:lnTo>
                    <a:pt x="151" y="52"/>
                  </a:lnTo>
                  <a:lnTo>
                    <a:pt x="147" y="39"/>
                  </a:lnTo>
                  <a:lnTo>
                    <a:pt x="141" y="28"/>
                  </a:lnTo>
                  <a:lnTo>
                    <a:pt x="134" y="18"/>
                  </a:lnTo>
                  <a:lnTo>
                    <a:pt x="123" y="11"/>
                  </a:lnTo>
                  <a:lnTo>
                    <a:pt x="112" y="5"/>
                  </a:lnTo>
                  <a:lnTo>
                    <a:pt x="100" y="0"/>
                  </a:lnTo>
                  <a:lnTo>
                    <a:pt x="87" y="0"/>
                  </a:lnTo>
                  <a:lnTo>
                    <a:pt x="8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0" name="Freeform 61">
              <a:extLst>
                <a:ext uri="{FF2B5EF4-FFF2-40B4-BE49-F238E27FC236}">
                  <a16:creationId xmlns:a16="http://schemas.microsoft.com/office/drawing/2014/main" id="{5BA281A6-6236-0E4E-935E-564E45316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8203" y="1772614"/>
              <a:ext cx="148174" cy="347059"/>
            </a:xfrm>
            <a:custGeom>
              <a:avLst/>
              <a:gdLst>
                <a:gd name="T0" fmla="*/ 308 w 373"/>
                <a:gd name="T1" fmla="*/ 102 h 874"/>
                <a:gd name="T2" fmla="*/ 208 w 373"/>
                <a:gd name="T3" fmla="*/ 102 h 874"/>
                <a:gd name="T4" fmla="*/ 208 w 373"/>
                <a:gd name="T5" fmla="*/ 24 h 874"/>
                <a:gd name="T6" fmla="*/ 208 w 373"/>
                <a:gd name="T7" fmla="*/ 24 h 874"/>
                <a:gd name="T8" fmla="*/ 206 w 373"/>
                <a:gd name="T9" fmla="*/ 15 h 874"/>
                <a:gd name="T10" fmla="*/ 202 w 373"/>
                <a:gd name="T11" fmla="*/ 7 h 874"/>
                <a:gd name="T12" fmla="*/ 195 w 373"/>
                <a:gd name="T13" fmla="*/ 2 h 874"/>
                <a:gd name="T14" fmla="*/ 186 w 373"/>
                <a:gd name="T15" fmla="*/ 0 h 874"/>
                <a:gd name="T16" fmla="*/ 186 w 373"/>
                <a:gd name="T17" fmla="*/ 0 h 874"/>
                <a:gd name="T18" fmla="*/ 176 w 373"/>
                <a:gd name="T19" fmla="*/ 2 h 874"/>
                <a:gd name="T20" fmla="*/ 169 w 373"/>
                <a:gd name="T21" fmla="*/ 7 h 874"/>
                <a:gd name="T22" fmla="*/ 165 w 373"/>
                <a:gd name="T23" fmla="*/ 15 h 874"/>
                <a:gd name="T24" fmla="*/ 163 w 373"/>
                <a:gd name="T25" fmla="*/ 24 h 874"/>
                <a:gd name="T26" fmla="*/ 163 w 373"/>
                <a:gd name="T27" fmla="*/ 102 h 874"/>
                <a:gd name="T28" fmla="*/ 65 w 373"/>
                <a:gd name="T29" fmla="*/ 102 h 874"/>
                <a:gd name="T30" fmla="*/ 65 w 373"/>
                <a:gd name="T31" fmla="*/ 102 h 874"/>
                <a:gd name="T32" fmla="*/ 52 w 373"/>
                <a:gd name="T33" fmla="*/ 104 h 874"/>
                <a:gd name="T34" fmla="*/ 39 w 373"/>
                <a:gd name="T35" fmla="*/ 107 h 874"/>
                <a:gd name="T36" fmla="*/ 28 w 373"/>
                <a:gd name="T37" fmla="*/ 113 h 874"/>
                <a:gd name="T38" fmla="*/ 19 w 373"/>
                <a:gd name="T39" fmla="*/ 120 h 874"/>
                <a:gd name="T40" fmla="*/ 11 w 373"/>
                <a:gd name="T41" fmla="*/ 132 h 874"/>
                <a:gd name="T42" fmla="*/ 6 w 373"/>
                <a:gd name="T43" fmla="*/ 143 h 874"/>
                <a:gd name="T44" fmla="*/ 2 w 373"/>
                <a:gd name="T45" fmla="*/ 154 h 874"/>
                <a:gd name="T46" fmla="*/ 0 w 373"/>
                <a:gd name="T47" fmla="*/ 167 h 874"/>
                <a:gd name="T48" fmla="*/ 0 w 373"/>
                <a:gd name="T49" fmla="*/ 874 h 874"/>
                <a:gd name="T50" fmla="*/ 0 w 373"/>
                <a:gd name="T51" fmla="*/ 874 h 874"/>
                <a:gd name="T52" fmla="*/ 45 w 373"/>
                <a:gd name="T53" fmla="*/ 874 h 874"/>
                <a:gd name="T54" fmla="*/ 47 w 373"/>
                <a:gd name="T55" fmla="*/ 874 h 874"/>
                <a:gd name="T56" fmla="*/ 45 w 373"/>
                <a:gd name="T57" fmla="*/ 167 h 874"/>
                <a:gd name="T58" fmla="*/ 45 w 373"/>
                <a:gd name="T59" fmla="*/ 167 h 874"/>
                <a:gd name="T60" fmla="*/ 47 w 373"/>
                <a:gd name="T61" fmla="*/ 159 h 874"/>
                <a:gd name="T62" fmla="*/ 52 w 373"/>
                <a:gd name="T63" fmla="*/ 154 h 874"/>
                <a:gd name="T64" fmla="*/ 58 w 373"/>
                <a:gd name="T65" fmla="*/ 148 h 874"/>
                <a:gd name="T66" fmla="*/ 65 w 373"/>
                <a:gd name="T67" fmla="*/ 148 h 874"/>
                <a:gd name="T68" fmla="*/ 308 w 373"/>
                <a:gd name="T69" fmla="*/ 148 h 874"/>
                <a:gd name="T70" fmla="*/ 308 w 373"/>
                <a:gd name="T71" fmla="*/ 148 h 874"/>
                <a:gd name="T72" fmla="*/ 316 w 373"/>
                <a:gd name="T73" fmla="*/ 148 h 874"/>
                <a:gd name="T74" fmla="*/ 321 w 373"/>
                <a:gd name="T75" fmla="*/ 154 h 874"/>
                <a:gd name="T76" fmla="*/ 325 w 373"/>
                <a:gd name="T77" fmla="*/ 159 h 874"/>
                <a:gd name="T78" fmla="*/ 327 w 373"/>
                <a:gd name="T79" fmla="*/ 167 h 874"/>
                <a:gd name="T80" fmla="*/ 327 w 373"/>
                <a:gd name="T81" fmla="*/ 874 h 874"/>
                <a:gd name="T82" fmla="*/ 327 w 373"/>
                <a:gd name="T83" fmla="*/ 874 h 874"/>
                <a:gd name="T84" fmla="*/ 373 w 373"/>
                <a:gd name="T85" fmla="*/ 874 h 874"/>
                <a:gd name="T86" fmla="*/ 373 w 373"/>
                <a:gd name="T87" fmla="*/ 874 h 874"/>
                <a:gd name="T88" fmla="*/ 373 w 373"/>
                <a:gd name="T89" fmla="*/ 167 h 874"/>
                <a:gd name="T90" fmla="*/ 373 w 373"/>
                <a:gd name="T91" fmla="*/ 167 h 874"/>
                <a:gd name="T92" fmla="*/ 371 w 373"/>
                <a:gd name="T93" fmla="*/ 154 h 874"/>
                <a:gd name="T94" fmla="*/ 368 w 373"/>
                <a:gd name="T95" fmla="*/ 143 h 874"/>
                <a:gd name="T96" fmla="*/ 362 w 373"/>
                <a:gd name="T97" fmla="*/ 132 h 874"/>
                <a:gd name="T98" fmla="*/ 353 w 373"/>
                <a:gd name="T99" fmla="*/ 120 h 874"/>
                <a:gd name="T100" fmla="*/ 344 w 373"/>
                <a:gd name="T101" fmla="*/ 113 h 874"/>
                <a:gd name="T102" fmla="*/ 332 w 373"/>
                <a:gd name="T103" fmla="*/ 107 h 874"/>
                <a:gd name="T104" fmla="*/ 321 w 373"/>
                <a:gd name="T105" fmla="*/ 104 h 874"/>
                <a:gd name="T106" fmla="*/ 308 w 373"/>
                <a:gd name="T107" fmla="*/ 102 h 874"/>
                <a:gd name="T108" fmla="*/ 308 w 373"/>
                <a:gd name="T109" fmla="*/ 102 h 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3" h="874">
                  <a:moveTo>
                    <a:pt x="308" y="102"/>
                  </a:moveTo>
                  <a:lnTo>
                    <a:pt x="208" y="102"/>
                  </a:lnTo>
                  <a:lnTo>
                    <a:pt x="208" y="24"/>
                  </a:lnTo>
                  <a:lnTo>
                    <a:pt x="208" y="24"/>
                  </a:lnTo>
                  <a:lnTo>
                    <a:pt x="206" y="15"/>
                  </a:lnTo>
                  <a:lnTo>
                    <a:pt x="202" y="7"/>
                  </a:lnTo>
                  <a:lnTo>
                    <a:pt x="195" y="2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176" y="2"/>
                  </a:lnTo>
                  <a:lnTo>
                    <a:pt x="169" y="7"/>
                  </a:lnTo>
                  <a:lnTo>
                    <a:pt x="165" y="15"/>
                  </a:lnTo>
                  <a:lnTo>
                    <a:pt x="163" y="24"/>
                  </a:lnTo>
                  <a:lnTo>
                    <a:pt x="163" y="102"/>
                  </a:lnTo>
                  <a:lnTo>
                    <a:pt x="65" y="102"/>
                  </a:lnTo>
                  <a:lnTo>
                    <a:pt x="65" y="102"/>
                  </a:lnTo>
                  <a:lnTo>
                    <a:pt x="52" y="104"/>
                  </a:lnTo>
                  <a:lnTo>
                    <a:pt x="39" y="107"/>
                  </a:lnTo>
                  <a:lnTo>
                    <a:pt x="28" y="113"/>
                  </a:lnTo>
                  <a:lnTo>
                    <a:pt x="19" y="120"/>
                  </a:lnTo>
                  <a:lnTo>
                    <a:pt x="11" y="132"/>
                  </a:lnTo>
                  <a:lnTo>
                    <a:pt x="6" y="143"/>
                  </a:lnTo>
                  <a:lnTo>
                    <a:pt x="2" y="154"/>
                  </a:lnTo>
                  <a:lnTo>
                    <a:pt x="0" y="167"/>
                  </a:lnTo>
                  <a:lnTo>
                    <a:pt x="0" y="874"/>
                  </a:lnTo>
                  <a:lnTo>
                    <a:pt x="0" y="874"/>
                  </a:lnTo>
                  <a:lnTo>
                    <a:pt x="45" y="874"/>
                  </a:lnTo>
                  <a:lnTo>
                    <a:pt x="47" y="874"/>
                  </a:lnTo>
                  <a:lnTo>
                    <a:pt x="45" y="167"/>
                  </a:lnTo>
                  <a:lnTo>
                    <a:pt x="45" y="167"/>
                  </a:lnTo>
                  <a:lnTo>
                    <a:pt x="47" y="159"/>
                  </a:lnTo>
                  <a:lnTo>
                    <a:pt x="52" y="154"/>
                  </a:lnTo>
                  <a:lnTo>
                    <a:pt x="58" y="148"/>
                  </a:lnTo>
                  <a:lnTo>
                    <a:pt x="65" y="148"/>
                  </a:lnTo>
                  <a:lnTo>
                    <a:pt x="308" y="148"/>
                  </a:lnTo>
                  <a:lnTo>
                    <a:pt x="308" y="148"/>
                  </a:lnTo>
                  <a:lnTo>
                    <a:pt x="316" y="148"/>
                  </a:lnTo>
                  <a:lnTo>
                    <a:pt x="321" y="154"/>
                  </a:lnTo>
                  <a:lnTo>
                    <a:pt x="325" y="159"/>
                  </a:lnTo>
                  <a:lnTo>
                    <a:pt x="327" y="167"/>
                  </a:lnTo>
                  <a:lnTo>
                    <a:pt x="327" y="874"/>
                  </a:lnTo>
                  <a:lnTo>
                    <a:pt x="327" y="874"/>
                  </a:lnTo>
                  <a:lnTo>
                    <a:pt x="373" y="874"/>
                  </a:lnTo>
                  <a:lnTo>
                    <a:pt x="373" y="874"/>
                  </a:lnTo>
                  <a:lnTo>
                    <a:pt x="373" y="167"/>
                  </a:lnTo>
                  <a:lnTo>
                    <a:pt x="373" y="167"/>
                  </a:lnTo>
                  <a:lnTo>
                    <a:pt x="371" y="154"/>
                  </a:lnTo>
                  <a:lnTo>
                    <a:pt x="368" y="143"/>
                  </a:lnTo>
                  <a:lnTo>
                    <a:pt x="362" y="132"/>
                  </a:lnTo>
                  <a:lnTo>
                    <a:pt x="353" y="120"/>
                  </a:lnTo>
                  <a:lnTo>
                    <a:pt x="344" y="113"/>
                  </a:lnTo>
                  <a:lnTo>
                    <a:pt x="332" y="107"/>
                  </a:lnTo>
                  <a:lnTo>
                    <a:pt x="321" y="104"/>
                  </a:lnTo>
                  <a:lnTo>
                    <a:pt x="308" y="102"/>
                  </a:lnTo>
                  <a:lnTo>
                    <a:pt x="308" y="10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12" name="Rechteck 14">
            <a:extLst>
              <a:ext uri="{FF2B5EF4-FFF2-40B4-BE49-F238E27FC236}">
                <a16:creationId xmlns:a16="http://schemas.microsoft.com/office/drawing/2014/main" id="{39EE4D85-01C0-0A4B-AE45-6712784504EF}"/>
              </a:ext>
            </a:extLst>
          </p:cNvPr>
          <p:cNvSpPr/>
          <p:nvPr/>
        </p:nvSpPr>
        <p:spPr bwMode="gray">
          <a:xfrm>
            <a:off x="360437" y="1464500"/>
            <a:ext cx="10441160" cy="792088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l">
              <a:buClr>
                <a:srgbClr val="9B9B9B"/>
              </a:buClr>
            </a:pPr>
            <a:r>
              <a:rPr lang="de-DE" kern="0" dirty="0">
                <a:latin typeface="+mn-lt"/>
              </a:rPr>
              <a:t>Global </a:t>
            </a:r>
            <a:r>
              <a:rPr lang="de-DE" kern="0" dirty="0" err="1">
                <a:latin typeface="+mn-lt"/>
              </a:rPr>
              <a:t>Product</a:t>
            </a:r>
            <a:r>
              <a:rPr lang="de-DE" kern="0" dirty="0">
                <a:latin typeface="+mn-lt"/>
              </a:rPr>
              <a:t> Organisation </a:t>
            </a:r>
            <a:r>
              <a:rPr lang="de-DE" kern="0" dirty="0" err="1">
                <a:latin typeface="+mn-lt"/>
              </a:rPr>
              <a:t>powered</a:t>
            </a:r>
            <a:r>
              <a:rPr lang="de-DE" kern="0" dirty="0">
                <a:latin typeface="+mn-lt"/>
              </a:rPr>
              <a:t> </a:t>
            </a:r>
            <a:r>
              <a:rPr lang="de-DE" kern="0" dirty="0" err="1">
                <a:latin typeface="+mn-lt"/>
              </a:rPr>
              <a:t>by</a:t>
            </a:r>
            <a:r>
              <a:rPr lang="de-DE" kern="0" dirty="0">
                <a:latin typeface="+mn-lt"/>
              </a:rPr>
              <a:t> </a:t>
            </a:r>
            <a:r>
              <a:rPr lang="de-DE" kern="0" dirty="0" err="1">
                <a:latin typeface="+mn-lt"/>
              </a:rPr>
              <a:t>single</a:t>
            </a:r>
            <a:r>
              <a:rPr lang="de-DE" kern="0" dirty="0">
                <a:latin typeface="+mn-lt"/>
              </a:rPr>
              <a:t> Digital </a:t>
            </a:r>
            <a:r>
              <a:rPr lang="de-DE" kern="0" dirty="0" err="1">
                <a:latin typeface="+mn-lt"/>
              </a:rPr>
              <a:t>Platform</a:t>
            </a:r>
            <a:endParaRPr lang="de-DE" kern="0" dirty="0">
              <a:latin typeface="+mn-lt"/>
            </a:endParaRP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7042281B-593A-4247-AE34-2CA31CA0417A}"/>
              </a:ext>
            </a:extLst>
          </p:cNvPr>
          <p:cNvGrpSpPr/>
          <p:nvPr/>
        </p:nvGrpSpPr>
        <p:grpSpPr>
          <a:xfrm>
            <a:off x="9585870" y="1599512"/>
            <a:ext cx="1215727" cy="578296"/>
            <a:chOff x="5556255" y="1264248"/>
            <a:chExt cx="398708" cy="310480"/>
          </a:xfrm>
          <a:solidFill>
            <a:schemeClr val="tx1"/>
          </a:solidFill>
        </p:grpSpPr>
        <p:sp>
          <p:nvSpPr>
            <p:cNvPr id="114" name="Freeform 143">
              <a:extLst>
                <a:ext uri="{FF2B5EF4-FFF2-40B4-BE49-F238E27FC236}">
                  <a16:creationId xmlns:a16="http://schemas.microsoft.com/office/drawing/2014/main" id="{EEA4C4CC-F994-794D-B7C9-B8B6BD0BCF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41384" y="1267614"/>
              <a:ext cx="61423" cy="61423"/>
            </a:xfrm>
            <a:custGeom>
              <a:avLst/>
              <a:gdLst>
                <a:gd name="T0" fmla="*/ 114 w 114"/>
                <a:gd name="T1" fmla="*/ 113 h 113"/>
                <a:gd name="T2" fmla="*/ 0 w 114"/>
                <a:gd name="T3" fmla="*/ 113 h 113"/>
                <a:gd name="T4" fmla="*/ 0 w 114"/>
                <a:gd name="T5" fmla="*/ 0 h 113"/>
                <a:gd name="T6" fmla="*/ 114 w 114"/>
                <a:gd name="T7" fmla="*/ 0 h 113"/>
                <a:gd name="T8" fmla="*/ 114 w 114"/>
                <a:gd name="T9" fmla="*/ 113 h 113"/>
                <a:gd name="T10" fmla="*/ 36 w 114"/>
                <a:gd name="T11" fmla="*/ 78 h 113"/>
                <a:gd name="T12" fmla="*/ 79 w 114"/>
                <a:gd name="T13" fmla="*/ 78 h 113"/>
                <a:gd name="T14" fmla="*/ 79 w 114"/>
                <a:gd name="T15" fmla="*/ 35 h 113"/>
                <a:gd name="T16" fmla="*/ 36 w 114"/>
                <a:gd name="T17" fmla="*/ 35 h 113"/>
                <a:gd name="T18" fmla="*/ 36 w 114"/>
                <a:gd name="T19" fmla="*/ 78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114" y="113"/>
                  </a:moveTo>
                  <a:lnTo>
                    <a:pt x="0" y="113"/>
                  </a:lnTo>
                  <a:lnTo>
                    <a:pt x="0" y="0"/>
                  </a:lnTo>
                  <a:lnTo>
                    <a:pt x="114" y="0"/>
                  </a:lnTo>
                  <a:lnTo>
                    <a:pt x="114" y="113"/>
                  </a:lnTo>
                  <a:close/>
                  <a:moveTo>
                    <a:pt x="36" y="78"/>
                  </a:moveTo>
                  <a:lnTo>
                    <a:pt x="79" y="78"/>
                  </a:lnTo>
                  <a:lnTo>
                    <a:pt x="79" y="35"/>
                  </a:lnTo>
                  <a:lnTo>
                    <a:pt x="36" y="35"/>
                  </a:lnTo>
                  <a:lnTo>
                    <a:pt x="36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Freeform 144">
              <a:extLst>
                <a:ext uri="{FF2B5EF4-FFF2-40B4-BE49-F238E27FC236}">
                  <a16:creationId xmlns:a16="http://schemas.microsoft.com/office/drawing/2014/main" id="{B6EFC51C-1B1C-034B-A6F6-7DF8E166B7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41384" y="1345201"/>
              <a:ext cx="61423" cy="62500"/>
            </a:xfrm>
            <a:custGeom>
              <a:avLst/>
              <a:gdLst>
                <a:gd name="T0" fmla="*/ 116 w 116"/>
                <a:gd name="T1" fmla="*/ 116 h 116"/>
                <a:gd name="T2" fmla="*/ 0 w 116"/>
                <a:gd name="T3" fmla="*/ 116 h 116"/>
                <a:gd name="T4" fmla="*/ 0 w 116"/>
                <a:gd name="T5" fmla="*/ 0 h 116"/>
                <a:gd name="T6" fmla="*/ 116 w 116"/>
                <a:gd name="T7" fmla="*/ 0 h 116"/>
                <a:gd name="T8" fmla="*/ 116 w 116"/>
                <a:gd name="T9" fmla="*/ 116 h 116"/>
                <a:gd name="T10" fmla="*/ 36 w 116"/>
                <a:gd name="T11" fmla="*/ 81 h 116"/>
                <a:gd name="T12" fmla="*/ 81 w 116"/>
                <a:gd name="T13" fmla="*/ 81 h 116"/>
                <a:gd name="T14" fmla="*/ 81 w 116"/>
                <a:gd name="T15" fmla="*/ 36 h 116"/>
                <a:gd name="T16" fmla="*/ 36 w 116"/>
                <a:gd name="T17" fmla="*/ 36 h 116"/>
                <a:gd name="T18" fmla="*/ 36 w 116"/>
                <a:gd name="T19" fmla="*/ 8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16">
                  <a:moveTo>
                    <a:pt x="116" y="116"/>
                  </a:moveTo>
                  <a:lnTo>
                    <a:pt x="0" y="116"/>
                  </a:lnTo>
                  <a:lnTo>
                    <a:pt x="0" y="0"/>
                  </a:lnTo>
                  <a:lnTo>
                    <a:pt x="116" y="0"/>
                  </a:lnTo>
                  <a:lnTo>
                    <a:pt x="116" y="116"/>
                  </a:lnTo>
                  <a:close/>
                  <a:moveTo>
                    <a:pt x="36" y="81"/>
                  </a:moveTo>
                  <a:lnTo>
                    <a:pt x="81" y="81"/>
                  </a:lnTo>
                  <a:lnTo>
                    <a:pt x="81" y="36"/>
                  </a:lnTo>
                  <a:lnTo>
                    <a:pt x="36" y="36"/>
                  </a:lnTo>
                  <a:lnTo>
                    <a:pt x="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Freeform 145">
              <a:extLst>
                <a:ext uri="{FF2B5EF4-FFF2-40B4-BE49-F238E27FC236}">
                  <a16:creationId xmlns:a16="http://schemas.microsoft.com/office/drawing/2014/main" id="{703A638B-C25B-D24C-A411-F47D9A8D4D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21126" y="1267614"/>
              <a:ext cx="62500" cy="61423"/>
            </a:xfrm>
            <a:custGeom>
              <a:avLst/>
              <a:gdLst>
                <a:gd name="T0" fmla="*/ 116 w 116"/>
                <a:gd name="T1" fmla="*/ 113 h 113"/>
                <a:gd name="T2" fmla="*/ 0 w 116"/>
                <a:gd name="T3" fmla="*/ 113 h 113"/>
                <a:gd name="T4" fmla="*/ 0 w 116"/>
                <a:gd name="T5" fmla="*/ 0 h 113"/>
                <a:gd name="T6" fmla="*/ 116 w 116"/>
                <a:gd name="T7" fmla="*/ 0 h 113"/>
                <a:gd name="T8" fmla="*/ 116 w 116"/>
                <a:gd name="T9" fmla="*/ 113 h 113"/>
                <a:gd name="T10" fmla="*/ 35 w 116"/>
                <a:gd name="T11" fmla="*/ 78 h 113"/>
                <a:gd name="T12" fmla="*/ 80 w 116"/>
                <a:gd name="T13" fmla="*/ 78 h 113"/>
                <a:gd name="T14" fmla="*/ 80 w 116"/>
                <a:gd name="T15" fmla="*/ 35 h 113"/>
                <a:gd name="T16" fmla="*/ 35 w 116"/>
                <a:gd name="T17" fmla="*/ 35 h 113"/>
                <a:gd name="T18" fmla="*/ 35 w 116"/>
                <a:gd name="T19" fmla="*/ 78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13">
                  <a:moveTo>
                    <a:pt x="116" y="113"/>
                  </a:moveTo>
                  <a:lnTo>
                    <a:pt x="0" y="113"/>
                  </a:lnTo>
                  <a:lnTo>
                    <a:pt x="0" y="0"/>
                  </a:lnTo>
                  <a:lnTo>
                    <a:pt x="116" y="0"/>
                  </a:lnTo>
                  <a:lnTo>
                    <a:pt x="116" y="113"/>
                  </a:lnTo>
                  <a:close/>
                  <a:moveTo>
                    <a:pt x="35" y="78"/>
                  </a:moveTo>
                  <a:lnTo>
                    <a:pt x="80" y="78"/>
                  </a:lnTo>
                  <a:lnTo>
                    <a:pt x="80" y="35"/>
                  </a:lnTo>
                  <a:lnTo>
                    <a:pt x="35" y="35"/>
                  </a:lnTo>
                  <a:lnTo>
                    <a:pt x="35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Freeform 146">
              <a:extLst>
                <a:ext uri="{FF2B5EF4-FFF2-40B4-BE49-F238E27FC236}">
                  <a16:creationId xmlns:a16="http://schemas.microsoft.com/office/drawing/2014/main" id="{AD4E6E16-DCA3-4345-9725-39CCD4857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0868" y="1267614"/>
              <a:ext cx="61423" cy="51724"/>
            </a:xfrm>
            <a:custGeom>
              <a:avLst/>
              <a:gdLst>
                <a:gd name="T0" fmla="*/ 35 w 116"/>
                <a:gd name="T1" fmla="*/ 35 h 95"/>
                <a:gd name="T2" fmla="*/ 81 w 116"/>
                <a:gd name="T3" fmla="*/ 35 h 95"/>
                <a:gd name="T4" fmla="*/ 81 w 116"/>
                <a:gd name="T5" fmla="*/ 75 h 95"/>
                <a:gd name="T6" fmla="*/ 81 w 116"/>
                <a:gd name="T7" fmla="*/ 75 h 95"/>
                <a:gd name="T8" fmla="*/ 91 w 116"/>
                <a:gd name="T9" fmla="*/ 78 h 95"/>
                <a:gd name="T10" fmla="*/ 99 w 116"/>
                <a:gd name="T11" fmla="*/ 83 h 95"/>
                <a:gd name="T12" fmla="*/ 107 w 116"/>
                <a:gd name="T13" fmla="*/ 88 h 95"/>
                <a:gd name="T14" fmla="*/ 116 w 116"/>
                <a:gd name="T15" fmla="*/ 95 h 95"/>
                <a:gd name="T16" fmla="*/ 116 w 116"/>
                <a:gd name="T17" fmla="*/ 0 h 95"/>
                <a:gd name="T18" fmla="*/ 0 w 116"/>
                <a:gd name="T19" fmla="*/ 0 h 95"/>
                <a:gd name="T20" fmla="*/ 0 w 116"/>
                <a:gd name="T21" fmla="*/ 87 h 95"/>
                <a:gd name="T22" fmla="*/ 0 w 116"/>
                <a:gd name="T23" fmla="*/ 87 h 95"/>
                <a:gd name="T24" fmla="*/ 17 w 116"/>
                <a:gd name="T25" fmla="*/ 77 h 95"/>
                <a:gd name="T26" fmla="*/ 27 w 116"/>
                <a:gd name="T27" fmla="*/ 75 h 95"/>
                <a:gd name="T28" fmla="*/ 35 w 116"/>
                <a:gd name="T29" fmla="*/ 72 h 95"/>
                <a:gd name="T30" fmla="*/ 35 w 116"/>
                <a:gd name="T31" fmla="*/ 3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6" h="95">
                  <a:moveTo>
                    <a:pt x="35" y="35"/>
                  </a:moveTo>
                  <a:lnTo>
                    <a:pt x="81" y="35"/>
                  </a:lnTo>
                  <a:lnTo>
                    <a:pt x="81" y="75"/>
                  </a:lnTo>
                  <a:lnTo>
                    <a:pt x="81" y="75"/>
                  </a:lnTo>
                  <a:lnTo>
                    <a:pt x="91" y="78"/>
                  </a:lnTo>
                  <a:lnTo>
                    <a:pt x="99" y="83"/>
                  </a:lnTo>
                  <a:lnTo>
                    <a:pt x="107" y="88"/>
                  </a:lnTo>
                  <a:lnTo>
                    <a:pt x="116" y="95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17" y="77"/>
                  </a:lnTo>
                  <a:lnTo>
                    <a:pt x="27" y="75"/>
                  </a:lnTo>
                  <a:lnTo>
                    <a:pt x="35" y="72"/>
                  </a:lnTo>
                  <a:lnTo>
                    <a:pt x="3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Freeform 147">
              <a:extLst>
                <a:ext uri="{FF2B5EF4-FFF2-40B4-BE49-F238E27FC236}">
                  <a16:creationId xmlns:a16="http://schemas.microsoft.com/office/drawing/2014/main" id="{4EFB9A16-8841-784D-B58D-FC5FA49D38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6255" y="1355977"/>
              <a:ext cx="26940" cy="26940"/>
            </a:xfrm>
            <a:custGeom>
              <a:avLst/>
              <a:gdLst>
                <a:gd name="T0" fmla="*/ 25 w 50"/>
                <a:gd name="T1" fmla="*/ 0 h 51"/>
                <a:gd name="T2" fmla="*/ 25 w 50"/>
                <a:gd name="T3" fmla="*/ 0 h 51"/>
                <a:gd name="T4" fmla="*/ 20 w 50"/>
                <a:gd name="T5" fmla="*/ 0 h 51"/>
                <a:gd name="T6" fmla="*/ 15 w 50"/>
                <a:gd name="T7" fmla="*/ 2 h 51"/>
                <a:gd name="T8" fmla="*/ 9 w 50"/>
                <a:gd name="T9" fmla="*/ 7 h 51"/>
                <a:gd name="T10" fmla="*/ 2 w 50"/>
                <a:gd name="T11" fmla="*/ 16 h 51"/>
                <a:gd name="T12" fmla="*/ 2 w 50"/>
                <a:gd name="T13" fmla="*/ 21 h 51"/>
                <a:gd name="T14" fmla="*/ 0 w 50"/>
                <a:gd name="T15" fmla="*/ 26 h 51"/>
                <a:gd name="T16" fmla="*/ 0 w 50"/>
                <a:gd name="T17" fmla="*/ 26 h 51"/>
                <a:gd name="T18" fmla="*/ 2 w 50"/>
                <a:gd name="T19" fmla="*/ 31 h 51"/>
                <a:gd name="T20" fmla="*/ 2 w 50"/>
                <a:gd name="T21" fmla="*/ 36 h 51"/>
                <a:gd name="T22" fmla="*/ 9 w 50"/>
                <a:gd name="T23" fmla="*/ 42 h 51"/>
                <a:gd name="T24" fmla="*/ 15 w 50"/>
                <a:gd name="T25" fmla="*/ 47 h 51"/>
                <a:gd name="T26" fmla="*/ 20 w 50"/>
                <a:gd name="T27" fmla="*/ 49 h 51"/>
                <a:gd name="T28" fmla="*/ 25 w 50"/>
                <a:gd name="T29" fmla="*/ 51 h 51"/>
                <a:gd name="T30" fmla="*/ 25 w 50"/>
                <a:gd name="T31" fmla="*/ 51 h 51"/>
                <a:gd name="T32" fmla="*/ 30 w 50"/>
                <a:gd name="T33" fmla="*/ 49 h 51"/>
                <a:gd name="T34" fmla="*/ 35 w 50"/>
                <a:gd name="T35" fmla="*/ 47 h 51"/>
                <a:gd name="T36" fmla="*/ 42 w 50"/>
                <a:gd name="T37" fmla="*/ 42 h 51"/>
                <a:gd name="T38" fmla="*/ 49 w 50"/>
                <a:gd name="T39" fmla="*/ 36 h 51"/>
                <a:gd name="T40" fmla="*/ 49 w 50"/>
                <a:gd name="T41" fmla="*/ 31 h 51"/>
                <a:gd name="T42" fmla="*/ 50 w 50"/>
                <a:gd name="T43" fmla="*/ 26 h 51"/>
                <a:gd name="T44" fmla="*/ 50 w 50"/>
                <a:gd name="T45" fmla="*/ 26 h 51"/>
                <a:gd name="T46" fmla="*/ 49 w 50"/>
                <a:gd name="T47" fmla="*/ 21 h 51"/>
                <a:gd name="T48" fmla="*/ 49 w 50"/>
                <a:gd name="T49" fmla="*/ 16 h 51"/>
                <a:gd name="T50" fmla="*/ 42 w 50"/>
                <a:gd name="T51" fmla="*/ 7 h 51"/>
                <a:gd name="T52" fmla="*/ 35 w 50"/>
                <a:gd name="T53" fmla="*/ 2 h 51"/>
                <a:gd name="T54" fmla="*/ 30 w 50"/>
                <a:gd name="T55" fmla="*/ 0 h 51"/>
                <a:gd name="T56" fmla="*/ 25 w 50"/>
                <a:gd name="T57" fmla="*/ 0 h 51"/>
                <a:gd name="T58" fmla="*/ 25 w 50"/>
                <a:gd name="T5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0" h="51">
                  <a:moveTo>
                    <a:pt x="25" y="0"/>
                  </a:moveTo>
                  <a:lnTo>
                    <a:pt x="25" y="0"/>
                  </a:lnTo>
                  <a:lnTo>
                    <a:pt x="20" y="0"/>
                  </a:lnTo>
                  <a:lnTo>
                    <a:pt x="15" y="2"/>
                  </a:lnTo>
                  <a:lnTo>
                    <a:pt x="9" y="7"/>
                  </a:lnTo>
                  <a:lnTo>
                    <a:pt x="2" y="16"/>
                  </a:lnTo>
                  <a:lnTo>
                    <a:pt x="2" y="21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1"/>
                  </a:lnTo>
                  <a:lnTo>
                    <a:pt x="2" y="36"/>
                  </a:lnTo>
                  <a:lnTo>
                    <a:pt x="9" y="42"/>
                  </a:lnTo>
                  <a:lnTo>
                    <a:pt x="15" y="47"/>
                  </a:lnTo>
                  <a:lnTo>
                    <a:pt x="20" y="49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30" y="49"/>
                  </a:lnTo>
                  <a:lnTo>
                    <a:pt x="35" y="47"/>
                  </a:lnTo>
                  <a:lnTo>
                    <a:pt x="42" y="42"/>
                  </a:lnTo>
                  <a:lnTo>
                    <a:pt x="49" y="36"/>
                  </a:lnTo>
                  <a:lnTo>
                    <a:pt x="49" y="31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49" y="21"/>
                  </a:lnTo>
                  <a:lnTo>
                    <a:pt x="49" y="16"/>
                  </a:lnTo>
                  <a:lnTo>
                    <a:pt x="42" y="7"/>
                  </a:lnTo>
                  <a:lnTo>
                    <a:pt x="35" y="2"/>
                  </a:lnTo>
                  <a:lnTo>
                    <a:pt x="30" y="0"/>
                  </a:ln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148">
              <a:extLst>
                <a:ext uri="{FF2B5EF4-FFF2-40B4-BE49-F238E27FC236}">
                  <a16:creationId xmlns:a16="http://schemas.microsoft.com/office/drawing/2014/main" id="{EE3176FC-12E7-F84D-8DD9-D15EE04638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9003" y="1264248"/>
              <a:ext cx="338547" cy="250135"/>
            </a:xfrm>
            <a:custGeom>
              <a:avLst/>
              <a:gdLst>
                <a:gd name="T0" fmla="*/ 179 w 717"/>
                <a:gd name="T1" fmla="*/ 495 h 535"/>
                <a:gd name="T2" fmla="*/ 179 w 717"/>
                <a:gd name="T3" fmla="*/ 40 h 535"/>
                <a:gd name="T4" fmla="*/ 659 w 717"/>
                <a:gd name="T5" fmla="*/ 40 h 535"/>
                <a:gd name="T6" fmla="*/ 659 w 717"/>
                <a:gd name="T7" fmla="*/ 40 h 535"/>
                <a:gd name="T8" fmla="*/ 665 w 717"/>
                <a:gd name="T9" fmla="*/ 42 h 535"/>
                <a:gd name="T10" fmla="*/ 670 w 717"/>
                <a:gd name="T11" fmla="*/ 45 h 535"/>
                <a:gd name="T12" fmla="*/ 675 w 717"/>
                <a:gd name="T13" fmla="*/ 50 h 535"/>
                <a:gd name="T14" fmla="*/ 677 w 717"/>
                <a:gd name="T15" fmla="*/ 57 h 535"/>
                <a:gd name="T16" fmla="*/ 677 w 717"/>
                <a:gd name="T17" fmla="*/ 333 h 535"/>
                <a:gd name="T18" fmla="*/ 717 w 717"/>
                <a:gd name="T19" fmla="*/ 338 h 535"/>
                <a:gd name="T20" fmla="*/ 717 w 717"/>
                <a:gd name="T21" fmla="*/ 57 h 535"/>
                <a:gd name="T22" fmla="*/ 717 w 717"/>
                <a:gd name="T23" fmla="*/ 57 h 535"/>
                <a:gd name="T24" fmla="*/ 716 w 717"/>
                <a:gd name="T25" fmla="*/ 45 h 535"/>
                <a:gd name="T26" fmla="*/ 712 w 717"/>
                <a:gd name="T27" fmla="*/ 35 h 535"/>
                <a:gd name="T28" fmla="*/ 707 w 717"/>
                <a:gd name="T29" fmla="*/ 25 h 535"/>
                <a:gd name="T30" fmla="*/ 701 w 717"/>
                <a:gd name="T31" fmla="*/ 17 h 535"/>
                <a:gd name="T32" fmla="*/ 692 w 717"/>
                <a:gd name="T33" fmla="*/ 10 h 535"/>
                <a:gd name="T34" fmla="*/ 682 w 717"/>
                <a:gd name="T35" fmla="*/ 3 h 535"/>
                <a:gd name="T36" fmla="*/ 670 w 717"/>
                <a:gd name="T37" fmla="*/ 0 h 535"/>
                <a:gd name="T38" fmla="*/ 659 w 717"/>
                <a:gd name="T39" fmla="*/ 0 h 535"/>
                <a:gd name="T40" fmla="*/ 59 w 717"/>
                <a:gd name="T41" fmla="*/ 0 h 535"/>
                <a:gd name="T42" fmla="*/ 59 w 717"/>
                <a:gd name="T43" fmla="*/ 0 h 535"/>
                <a:gd name="T44" fmla="*/ 47 w 717"/>
                <a:gd name="T45" fmla="*/ 0 h 535"/>
                <a:gd name="T46" fmla="*/ 35 w 717"/>
                <a:gd name="T47" fmla="*/ 3 h 535"/>
                <a:gd name="T48" fmla="*/ 25 w 717"/>
                <a:gd name="T49" fmla="*/ 10 h 535"/>
                <a:gd name="T50" fmla="*/ 17 w 717"/>
                <a:gd name="T51" fmla="*/ 17 h 535"/>
                <a:gd name="T52" fmla="*/ 10 w 717"/>
                <a:gd name="T53" fmla="*/ 25 h 535"/>
                <a:gd name="T54" fmla="*/ 3 w 717"/>
                <a:gd name="T55" fmla="*/ 35 h 535"/>
                <a:gd name="T56" fmla="*/ 0 w 717"/>
                <a:gd name="T57" fmla="*/ 45 h 535"/>
                <a:gd name="T58" fmla="*/ 0 w 717"/>
                <a:gd name="T59" fmla="*/ 57 h 535"/>
                <a:gd name="T60" fmla="*/ 0 w 717"/>
                <a:gd name="T61" fmla="*/ 477 h 535"/>
                <a:gd name="T62" fmla="*/ 0 w 717"/>
                <a:gd name="T63" fmla="*/ 477 h 535"/>
                <a:gd name="T64" fmla="*/ 0 w 717"/>
                <a:gd name="T65" fmla="*/ 488 h 535"/>
                <a:gd name="T66" fmla="*/ 3 w 717"/>
                <a:gd name="T67" fmla="*/ 500 h 535"/>
                <a:gd name="T68" fmla="*/ 10 w 717"/>
                <a:gd name="T69" fmla="*/ 510 h 535"/>
                <a:gd name="T70" fmla="*/ 17 w 717"/>
                <a:gd name="T71" fmla="*/ 518 h 535"/>
                <a:gd name="T72" fmla="*/ 25 w 717"/>
                <a:gd name="T73" fmla="*/ 525 h 535"/>
                <a:gd name="T74" fmla="*/ 35 w 717"/>
                <a:gd name="T75" fmla="*/ 530 h 535"/>
                <a:gd name="T76" fmla="*/ 47 w 717"/>
                <a:gd name="T77" fmla="*/ 533 h 535"/>
                <a:gd name="T78" fmla="*/ 59 w 717"/>
                <a:gd name="T79" fmla="*/ 535 h 535"/>
                <a:gd name="T80" fmla="*/ 395 w 717"/>
                <a:gd name="T81" fmla="*/ 535 h 535"/>
                <a:gd name="T82" fmla="*/ 361 w 717"/>
                <a:gd name="T83" fmla="*/ 495 h 535"/>
                <a:gd name="T84" fmla="*/ 179 w 717"/>
                <a:gd name="T85" fmla="*/ 495 h 535"/>
                <a:gd name="T86" fmla="*/ 40 w 717"/>
                <a:gd name="T87" fmla="*/ 477 h 535"/>
                <a:gd name="T88" fmla="*/ 40 w 717"/>
                <a:gd name="T89" fmla="*/ 57 h 535"/>
                <a:gd name="T90" fmla="*/ 40 w 717"/>
                <a:gd name="T91" fmla="*/ 57 h 535"/>
                <a:gd name="T92" fmla="*/ 42 w 717"/>
                <a:gd name="T93" fmla="*/ 50 h 535"/>
                <a:gd name="T94" fmla="*/ 45 w 717"/>
                <a:gd name="T95" fmla="*/ 45 h 535"/>
                <a:gd name="T96" fmla="*/ 52 w 717"/>
                <a:gd name="T97" fmla="*/ 42 h 535"/>
                <a:gd name="T98" fmla="*/ 59 w 717"/>
                <a:gd name="T99" fmla="*/ 40 h 535"/>
                <a:gd name="T100" fmla="*/ 139 w 717"/>
                <a:gd name="T101" fmla="*/ 40 h 535"/>
                <a:gd name="T102" fmla="*/ 139 w 717"/>
                <a:gd name="T103" fmla="*/ 495 h 535"/>
                <a:gd name="T104" fmla="*/ 59 w 717"/>
                <a:gd name="T105" fmla="*/ 495 h 535"/>
                <a:gd name="T106" fmla="*/ 59 w 717"/>
                <a:gd name="T107" fmla="*/ 495 h 535"/>
                <a:gd name="T108" fmla="*/ 52 w 717"/>
                <a:gd name="T109" fmla="*/ 493 h 535"/>
                <a:gd name="T110" fmla="*/ 45 w 717"/>
                <a:gd name="T111" fmla="*/ 490 h 535"/>
                <a:gd name="T112" fmla="*/ 42 w 717"/>
                <a:gd name="T113" fmla="*/ 483 h 535"/>
                <a:gd name="T114" fmla="*/ 40 w 717"/>
                <a:gd name="T115" fmla="*/ 477 h 535"/>
                <a:gd name="T116" fmla="*/ 40 w 717"/>
                <a:gd name="T117" fmla="*/ 477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17" h="535">
                  <a:moveTo>
                    <a:pt x="179" y="495"/>
                  </a:moveTo>
                  <a:lnTo>
                    <a:pt x="179" y="40"/>
                  </a:lnTo>
                  <a:lnTo>
                    <a:pt x="659" y="40"/>
                  </a:lnTo>
                  <a:lnTo>
                    <a:pt x="659" y="40"/>
                  </a:lnTo>
                  <a:lnTo>
                    <a:pt x="665" y="42"/>
                  </a:lnTo>
                  <a:lnTo>
                    <a:pt x="670" y="45"/>
                  </a:lnTo>
                  <a:lnTo>
                    <a:pt x="675" y="50"/>
                  </a:lnTo>
                  <a:lnTo>
                    <a:pt x="677" y="57"/>
                  </a:lnTo>
                  <a:lnTo>
                    <a:pt x="677" y="333"/>
                  </a:lnTo>
                  <a:lnTo>
                    <a:pt x="717" y="338"/>
                  </a:lnTo>
                  <a:lnTo>
                    <a:pt x="717" y="57"/>
                  </a:lnTo>
                  <a:lnTo>
                    <a:pt x="717" y="57"/>
                  </a:lnTo>
                  <a:lnTo>
                    <a:pt x="716" y="45"/>
                  </a:lnTo>
                  <a:lnTo>
                    <a:pt x="712" y="35"/>
                  </a:lnTo>
                  <a:lnTo>
                    <a:pt x="707" y="25"/>
                  </a:lnTo>
                  <a:lnTo>
                    <a:pt x="701" y="17"/>
                  </a:lnTo>
                  <a:lnTo>
                    <a:pt x="692" y="10"/>
                  </a:lnTo>
                  <a:lnTo>
                    <a:pt x="682" y="3"/>
                  </a:lnTo>
                  <a:lnTo>
                    <a:pt x="670" y="0"/>
                  </a:lnTo>
                  <a:lnTo>
                    <a:pt x="659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47" y="0"/>
                  </a:lnTo>
                  <a:lnTo>
                    <a:pt x="35" y="3"/>
                  </a:lnTo>
                  <a:lnTo>
                    <a:pt x="25" y="10"/>
                  </a:lnTo>
                  <a:lnTo>
                    <a:pt x="17" y="17"/>
                  </a:lnTo>
                  <a:lnTo>
                    <a:pt x="10" y="25"/>
                  </a:lnTo>
                  <a:lnTo>
                    <a:pt x="3" y="35"/>
                  </a:lnTo>
                  <a:lnTo>
                    <a:pt x="0" y="45"/>
                  </a:lnTo>
                  <a:lnTo>
                    <a:pt x="0" y="57"/>
                  </a:lnTo>
                  <a:lnTo>
                    <a:pt x="0" y="477"/>
                  </a:lnTo>
                  <a:lnTo>
                    <a:pt x="0" y="477"/>
                  </a:lnTo>
                  <a:lnTo>
                    <a:pt x="0" y="488"/>
                  </a:lnTo>
                  <a:lnTo>
                    <a:pt x="3" y="500"/>
                  </a:lnTo>
                  <a:lnTo>
                    <a:pt x="10" y="510"/>
                  </a:lnTo>
                  <a:lnTo>
                    <a:pt x="17" y="518"/>
                  </a:lnTo>
                  <a:lnTo>
                    <a:pt x="25" y="525"/>
                  </a:lnTo>
                  <a:lnTo>
                    <a:pt x="35" y="530"/>
                  </a:lnTo>
                  <a:lnTo>
                    <a:pt x="47" y="533"/>
                  </a:lnTo>
                  <a:lnTo>
                    <a:pt x="59" y="535"/>
                  </a:lnTo>
                  <a:lnTo>
                    <a:pt x="395" y="535"/>
                  </a:lnTo>
                  <a:lnTo>
                    <a:pt x="361" y="495"/>
                  </a:lnTo>
                  <a:lnTo>
                    <a:pt x="179" y="495"/>
                  </a:lnTo>
                  <a:close/>
                  <a:moveTo>
                    <a:pt x="40" y="477"/>
                  </a:moveTo>
                  <a:lnTo>
                    <a:pt x="40" y="57"/>
                  </a:lnTo>
                  <a:lnTo>
                    <a:pt x="40" y="57"/>
                  </a:lnTo>
                  <a:lnTo>
                    <a:pt x="42" y="50"/>
                  </a:lnTo>
                  <a:lnTo>
                    <a:pt x="45" y="45"/>
                  </a:lnTo>
                  <a:lnTo>
                    <a:pt x="52" y="42"/>
                  </a:lnTo>
                  <a:lnTo>
                    <a:pt x="59" y="40"/>
                  </a:lnTo>
                  <a:lnTo>
                    <a:pt x="139" y="40"/>
                  </a:lnTo>
                  <a:lnTo>
                    <a:pt x="139" y="495"/>
                  </a:lnTo>
                  <a:lnTo>
                    <a:pt x="59" y="495"/>
                  </a:lnTo>
                  <a:lnTo>
                    <a:pt x="59" y="495"/>
                  </a:lnTo>
                  <a:lnTo>
                    <a:pt x="52" y="493"/>
                  </a:lnTo>
                  <a:lnTo>
                    <a:pt x="45" y="490"/>
                  </a:lnTo>
                  <a:lnTo>
                    <a:pt x="42" y="483"/>
                  </a:lnTo>
                  <a:lnTo>
                    <a:pt x="40" y="477"/>
                  </a:lnTo>
                  <a:lnTo>
                    <a:pt x="40" y="4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149">
              <a:extLst>
                <a:ext uri="{FF2B5EF4-FFF2-40B4-BE49-F238E27FC236}">
                  <a16:creationId xmlns:a16="http://schemas.microsoft.com/office/drawing/2014/main" id="{25CD3A67-AF7D-D145-98B2-937ED54C61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9746" y="1325804"/>
              <a:ext cx="225217" cy="248924"/>
            </a:xfrm>
            <a:custGeom>
              <a:avLst/>
              <a:gdLst>
                <a:gd name="T0" fmla="*/ 241 w 420"/>
                <a:gd name="T1" fmla="*/ 55 h 461"/>
                <a:gd name="T2" fmla="*/ 238 w 420"/>
                <a:gd name="T3" fmla="*/ 33 h 461"/>
                <a:gd name="T4" fmla="*/ 218 w 420"/>
                <a:gd name="T5" fmla="*/ 8 h 461"/>
                <a:gd name="T6" fmla="*/ 186 w 420"/>
                <a:gd name="T7" fmla="*/ 0 h 461"/>
                <a:gd name="T8" fmla="*/ 172 w 420"/>
                <a:gd name="T9" fmla="*/ 0 h 461"/>
                <a:gd name="T10" fmla="*/ 144 w 420"/>
                <a:gd name="T11" fmla="*/ 15 h 461"/>
                <a:gd name="T12" fmla="*/ 129 w 420"/>
                <a:gd name="T13" fmla="*/ 43 h 461"/>
                <a:gd name="T14" fmla="*/ 99 w 420"/>
                <a:gd name="T15" fmla="*/ 232 h 461"/>
                <a:gd name="T16" fmla="*/ 80 w 420"/>
                <a:gd name="T17" fmla="*/ 220 h 461"/>
                <a:gd name="T18" fmla="*/ 59 w 420"/>
                <a:gd name="T19" fmla="*/ 215 h 461"/>
                <a:gd name="T20" fmla="*/ 29 w 420"/>
                <a:gd name="T21" fmla="*/ 225 h 461"/>
                <a:gd name="T22" fmla="*/ 17 w 420"/>
                <a:gd name="T23" fmla="*/ 235 h 461"/>
                <a:gd name="T24" fmla="*/ 2 w 420"/>
                <a:gd name="T25" fmla="*/ 264 h 461"/>
                <a:gd name="T26" fmla="*/ 4 w 420"/>
                <a:gd name="T27" fmla="*/ 296 h 461"/>
                <a:gd name="T28" fmla="*/ 157 w 420"/>
                <a:gd name="T29" fmla="*/ 454 h 461"/>
                <a:gd name="T30" fmla="*/ 172 w 420"/>
                <a:gd name="T31" fmla="*/ 461 h 461"/>
                <a:gd name="T32" fmla="*/ 186 w 420"/>
                <a:gd name="T33" fmla="*/ 454 h 461"/>
                <a:gd name="T34" fmla="*/ 192 w 420"/>
                <a:gd name="T35" fmla="*/ 441 h 461"/>
                <a:gd name="T36" fmla="*/ 45 w 420"/>
                <a:gd name="T37" fmla="*/ 286 h 461"/>
                <a:gd name="T38" fmla="*/ 40 w 420"/>
                <a:gd name="T39" fmla="*/ 274 h 461"/>
                <a:gd name="T40" fmla="*/ 49 w 420"/>
                <a:gd name="T41" fmla="*/ 260 h 461"/>
                <a:gd name="T42" fmla="*/ 59 w 420"/>
                <a:gd name="T43" fmla="*/ 255 h 461"/>
                <a:gd name="T44" fmla="*/ 70 w 420"/>
                <a:gd name="T45" fmla="*/ 260 h 461"/>
                <a:gd name="T46" fmla="*/ 122 w 420"/>
                <a:gd name="T47" fmla="*/ 312 h 461"/>
                <a:gd name="T48" fmla="*/ 134 w 420"/>
                <a:gd name="T49" fmla="*/ 316 h 461"/>
                <a:gd name="T50" fmla="*/ 146 w 420"/>
                <a:gd name="T51" fmla="*/ 316 h 461"/>
                <a:gd name="T52" fmla="*/ 161 w 420"/>
                <a:gd name="T53" fmla="*/ 304 h 461"/>
                <a:gd name="T54" fmla="*/ 167 w 420"/>
                <a:gd name="T55" fmla="*/ 289 h 461"/>
                <a:gd name="T56" fmla="*/ 169 w 420"/>
                <a:gd name="T57" fmla="*/ 274 h 461"/>
                <a:gd name="T58" fmla="*/ 169 w 420"/>
                <a:gd name="T59" fmla="*/ 55 h 461"/>
                <a:gd name="T60" fmla="*/ 172 w 420"/>
                <a:gd name="T61" fmla="*/ 45 h 461"/>
                <a:gd name="T62" fmla="*/ 186 w 420"/>
                <a:gd name="T63" fmla="*/ 40 h 461"/>
                <a:gd name="T64" fmla="*/ 196 w 420"/>
                <a:gd name="T65" fmla="*/ 45 h 461"/>
                <a:gd name="T66" fmla="*/ 201 w 420"/>
                <a:gd name="T67" fmla="*/ 204 h 461"/>
                <a:gd name="T68" fmla="*/ 356 w 420"/>
                <a:gd name="T69" fmla="*/ 230 h 461"/>
                <a:gd name="T70" fmla="*/ 370 w 420"/>
                <a:gd name="T71" fmla="*/ 242 h 461"/>
                <a:gd name="T72" fmla="*/ 378 w 420"/>
                <a:gd name="T73" fmla="*/ 274 h 461"/>
                <a:gd name="T74" fmla="*/ 366 w 420"/>
                <a:gd name="T75" fmla="*/ 441 h 461"/>
                <a:gd name="T76" fmla="*/ 385 w 420"/>
                <a:gd name="T77" fmla="*/ 454 h 461"/>
                <a:gd name="T78" fmla="*/ 386 w 420"/>
                <a:gd name="T79" fmla="*/ 456 h 461"/>
                <a:gd name="T80" fmla="*/ 405 w 420"/>
                <a:gd name="T81" fmla="*/ 444 h 461"/>
                <a:gd name="T82" fmla="*/ 420 w 420"/>
                <a:gd name="T83" fmla="*/ 276 h 461"/>
                <a:gd name="T84" fmla="*/ 418 w 420"/>
                <a:gd name="T85" fmla="*/ 254 h 461"/>
                <a:gd name="T86" fmla="*/ 398 w 420"/>
                <a:gd name="T87" fmla="*/ 210 h 461"/>
                <a:gd name="T88" fmla="*/ 368 w 420"/>
                <a:gd name="T89" fmla="*/ 190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20" h="461">
                  <a:moveTo>
                    <a:pt x="358" y="189"/>
                  </a:moveTo>
                  <a:lnTo>
                    <a:pt x="241" y="169"/>
                  </a:lnTo>
                  <a:lnTo>
                    <a:pt x="241" y="55"/>
                  </a:lnTo>
                  <a:lnTo>
                    <a:pt x="241" y="55"/>
                  </a:lnTo>
                  <a:lnTo>
                    <a:pt x="241" y="43"/>
                  </a:lnTo>
                  <a:lnTo>
                    <a:pt x="238" y="33"/>
                  </a:lnTo>
                  <a:lnTo>
                    <a:pt x="233" y="23"/>
                  </a:lnTo>
                  <a:lnTo>
                    <a:pt x="226" y="15"/>
                  </a:lnTo>
                  <a:lnTo>
                    <a:pt x="218" y="8"/>
                  </a:lnTo>
                  <a:lnTo>
                    <a:pt x="208" y="3"/>
                  </a:lnTo>
                  <a:lnTo>
                    <a:pt x="198" y="0"/>
                  </a:lnTo>
                  <a:lnTo>
                    <a:pt x="186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72" y="0"/>
                  </a:lnTo>
                  <a:lnTo>
                    <a:pt x="162" y="3"/>
                  </a:lnTo>
                  <a:lnTo>
                    <a:pt x="152" y="8"/>
                  </a:lnTo>
                  <a:lnTo>
                    <a:pt x="144" y="15"/>
                  </a:lnTo>
                  <a:lnTo>
                    <a:pt x="137" y="23"/>
                  </a:lnTo>
                  <a:lnTo>
                    <a:pt x="132" y="33"/>
                  </a:lnTo>
                  <a:lnTo>
                    <a:pt x="129" y="43"/>
                  </a:lnTo>
                  <a:lnTo>
                    <a:pt x="127" y="55"/>
                  </a:lnTo>
                  <a:lnTo>
                    <a:pt x="127" y="260"/>
                  </a:lnTo>
                  <a:lnTo>
                    <a:pt x="99" y="232"/>
                  </a:lnTo>
                  <a:lnTo>
                    <a:pt x="99" y="232"/>
                  </a:lnTo>
                  <a:lnTo>
                    <a:pt x="91" y="225"/>
                  </a:lnTo>
                  <a:lnTo>
                    <a:pt x="80" y="220"/>
                  </a:lnTo>
                  <a:lnTo>
                    <a:pt x="70" y="217"/>
                  </a:lnTo>
                  <a:lnTo>
                    <a:pt x="59" y="215"/>
                  </a:lnTo>
                  <a:lnTo>
                    <a:pt x="59" y="215"/>
                  </a:lnTo>
                  <a:lnTo>
                    <a:pt x="49" y="217"/>
                  </a:lnTo>
                  <a:lnTo>
                    <a:pt x="39" y="220"/>
                  </a:lnTo>
                  <a:lnTo>
                    <a:pt x="29" y="225"/>
                  </a:lnTo>
                  <a:lnTo>
                    <a:pt x="20" y="232"/>
                  </a:lnTo>
                  <a:lnTo>
                    <a:pt x="17" y="235"/>
                  </a:lnTo>
                  <a:lnTo>
                    <a:pt x="17" y="235"/>
                  </a:lnTo>
                  <a:lnTo>
                    <a:pt x="10" y="244"/>
                  </a:lnTo>
                  <a:lnTo>
                    <a:pt x="4" y="254"/>
                  </a:lnTo>
                  <a:lnTo>
                    <a:pt x="2" y="264"/>
                  </a:lnTo>
                  <a:lnTo>
                    <a:pt x="0" y="274"/>
                  </a:lnTo>
                  <a:lnTo>
                    <a:pt x="2" y="286"/>
                  </a:lnTo>
                  <a:lnTo>
                    <a:pt x="4" y="296"/>
                  </a:lnTo>
                  <a:lnTo>
                    <a:pt x="9" y="306"/>
                  </a:lnTo>
                  <a:lnTo>
                    <a:pt x="17" y="314"/>
                  </a:lnTo>
                  <a:lnTo>
                    <a:pt x="157" y="454"/>
                  </a:lnTo>
                  <a:lnTo>
                    <a:pt x="157" y="454"/>
                  </a:lnTo>
                  <a:lnTo>
                    <a:pt x="164" y="459"/>
                  </a:lnTo>
                  <a:lnTo>
                    <a:pt x="172" y="461"/>
                  </a:lnTo>
                  <a:lnTo>
                    <a:pt x="172" y="461"/>
                  </a:lnTo>
                  <a:lnTo>
                    <a:pt x="179" y="459"/>
                  </a:lnTo>
                  <a:lnTo>
                    <a:pt x="186" y="454"/>
                  </a:lnTo>
                  <a:lnTo>
                    <a:pt x="186" y="454"/>
                  </a:lnTo>
                  <a:lnTo>
                    <a:pt x="191" y="448"/>
                  </a:lnTo>
                  <a:lnTo>
                    <a:pt x="192" y="441"/>
                  </a:lnTo>
                  <a:lnTo>
                    <a:pt x="191" y="433"/>
                  </a:lnTo>
                  <a:lnTo>
                    <a:pt x="186" y="426"/>
                  </a:lnTo>
                  <a:lnTo>
                    <a:pt x="45" y="286"/>
                  </a:lnTo>
                  <a:lnTo>
                    <a:pt x="45" y="286"/>
                  </a:lnTo>
                  <a:lnTo>
                    <a:pt x="42" y="281"/>
                  </a:lnTo>
                  <a:lnTo>
                    <a:pt x="40" y="274"/>
                  </a:lnTo>
                  <a:lnTo>
                    <a:pt x="42" y="269"/>
                  </a:lnTo>
                  <a:lnTo>
                    <a:pt x="45" y="264"/>
                  </a:lnTo>
                  <a:lnTo>
                    <a:pt x="49" y="260"/>
                  </a:lnTo>
                  <a:lnTo>
                    <a:pt x="49" y="260"/>
                  </a:lnTo>
                  <a:lnTo>
                    <a:pt x="54" y="257"/>
                  </a:lnTo>
                  <a:lnTo>
                    <a:pt x="59" y="255"/>
                  </a:lnTo>
                  <a:lnTo>
                    <a:pt x="59" y="255"/>
                  </a:lnTo>
                  <a:lnTo>
                    <a:pt x="65" y="257"/>
                  </a:lnTo>
                  <a:lnTo>
                    <a:pt x="70" y="260"/>
                  </a:lnTo>
                  <a:lnTo>
                    <a:pt x="117" y="309"/>
                  </a:lnTo>
                  <a:lnTo>
                    <a:pt x="117" y="309"/>
                  </a:lnTo>
                  <a:lnTo>
                    <a:pt x="122" y="312"/>
                  </a:lnTo>
                  <a:lnTo>
                    <a:pt x="127" y="316"/>
                  </a:lnTo>
                  <a:lnTo>
                    <a:pt x="127" y="316"/>
                  </a:lnTo>
                  <a:lnTo>
                    <a:pt x="134" y="316"/>
                  </a:lnTo>
                  <a:lnTo>
                    <a:pt x="141" y="317"/>
                  </a:lnTo>
                  <a:lnTo>
                    <a:pt x="146" y="316"/>
                  </a:lnTo>
                  <a:lnTo>
                    <a:pt x="146" y="316"/>
                  </a:lnTo>
                  <a:lnTo>
                    <a:pt x="152" y="314"/>
                  </a:lnTo>
                  <a:lnTo>
                    <a:pt x="157" y="309"/>
                  </a:lnTo>
                  <a:lnTo>
                    <a:pt x="161" y="304"/>
                  </a:lnTo>
                  <a:lnTo>
                    <a:pt x="164" y="297"/>
                  </a:lnTo>
                  <a:lnTo>
                    <a:pt x="164" y="297"/>
                  </a:lnTo>
                  <a:lnTo>
                    <a:pt x="167" y="289"/>
                  </a:lnTo>
                  <a:lnTo>
                    <a:pt x="169" y="281"/>
                  </a:lnTo>
                  <a:lnTo>
                    <a:pt x="169" y="281"/>
                  </a:lnTo>
                  <a:lnTo>
                    <a:pt x="169" y="274"/>
                  </a:lnTo>
                  <a:lnTo>
                    <a:pt x="169" y="274"/>
                  </a:lnTo>
                  <a:lnTo>
                    <a:pt x="169" y="274"/>
                  </a:lnTo>
                  <a:lnTo>
                    <a:pt x="169" y="55"/>
                  </a:lnTo>
                  <a:lnTo>
                    <a:pt x="169" y="55"/>
                  </a:lnTo>
                  <a:lnTo>
                    <a:pt x="169" y="48"/>
                  </a:lnTo>
                  <a:lnTo>
                    <a:pt x="172" y="45"/>
                  </a:lnTo>
                  <a:lnTo>
                    <a:pt x="177" y="41"/>
                  </a:lnTo>
                  <a:lnTo>
                    <a:pt x="184" y="40"/>
                  </a:lnTo>
                  <a:lnTo>
                    <a:pt x="186" y="40"/>
                  </a:lnTo>
                  <a:lnTo>
                    <a:pt x="186" y="40"/>
                  </a:lnTo>
                  <a:lnTo>
                    <a:pt x="192" y="41"/>
                  </a:lnTo>
                  <a:lnTo>
                    <a:pt x="196" y="45"/>
                  </a:lnTo>
                  <a:lnTo>
                    <a:pt x="199" y="48"/>
                  </a:lnTo>
                  <a:lnTo>
                    <a:pt x="201" y="55"/>
                  </a:lnTo>
                  <a:lnTo>
                    <a:pt x="201" y="204"/>
                  </a:lnTo>
                  <a:lnTo>
                    <a:pt x="351" y="229"/>
                  </a:lnTo>
                  <a:lnTo>
                    <a:pt x="351" y="229"/>
                  </a:lnTo>
                  <a:lnTo>
                    <a:pt x="356" y="230"/>
                  </a:lnTo>
                  <a:lnTo>
                    <a:pt x="360" y="232"/>
                  </a:lnTo>
                  <a:lnTo>
                    <a:pt x="365" y="235"/>
                  </a:lnTo>
                  <a:lnTo>
                    <a:pt x="370" y="242"/>
                  </a:lnTo>
                  <a:lnTo>
                    <a:pt x="375" y="250"/>
                  </a:lnTo>
                  <a:lnTo>
                    <a:pt x="378" y="260"/>
                  </a:lnTo>
                  <a:lnTo>
                    <a:pt x="378" y="274"/>
                  </a:lnTo>
                  <a:lnTo>
                    <a:pt x="366" y="433"/>
                  </a:lnTo>
                  <a:lnTo>
                    <a:pt x="366" y="433"/>
                  </a:lnTo>
                  <a:lnTo>
                    <a:pt x="366" y="441"/>
                  </a:lnTo>
                  <a:lnTo>
                    <a:pt x="371" y="448"/>
                  </a:lnTo>
                  <a:lnTo>
                    <a:pt x="376" y="453"/>
                  </a:lnTo>
                  <a:lnTo>
                    <a:pt x="385" y="454"/>
                  </a:lnTo>
                  <a:lnTo>
                    <a:pt x="385" y="454"/>
                  </a:lnTo>
                  <a:lnTo>
                    <a:pt x="386" y="456"/>
                  </a:lnTo>
                  <a:lnTo>
                    <a:pt x="386" y="456"/>
                  </a:lnTo>
                  <a:lnTo>
                    <a:pt x="395" y="454"/>
                  </a:lnTo>
                  <a:lnTo>
                    <a:pt x="400" y="449"/>
                  </a:lnTo>
                  <a:lnTo>
                    <a:pt x="405" y="444"/>
                  </a:lnTo>
                  <a:lnTo>
                    <a:pt x="406" y="436"/>
                  </a:lnTo>
                  <a:lnTo>
                    <a:pt x="420" y="276"/>
                  </a:lnTo>
                  <a:lnTo>
                    <a:pt x="420" y="276"/>
                  </a:lnTo>
                  <a:lnTo>
                    <a:pt x="420" y="274"/>
                  </a:lnTo>
                  <a:lnTo>
                    <a:pt x="420" y="274"/>
                  </a:lnTo>
                  <a:lnTo>
                    <a:pt x="418" y="254"/>
                  </a:lnTo>
                  <a:lnTo>
                    <a:pt x="413" y="237"/>
                  </a:lnTo>
                  <a:lnTo>
                    <a:pt x="406" y="222"/>
                  </a:lnTo>
                  <a:lnTo>
                    <a:pt x="398" y="210"/>
                  </a:lnTo>
                  <a:lnTo>
                    <a:pt x="388" y="202"/>
                  </a:lnTo>
                  <a:lnTo>
                    <a:pt x="378" y="195"/>
                  </a:lnTo>
                  <a:lnTo>
                    <a:pt x="368" y="190"/>
                  </a:lnTo>
                  <a:lnTo>
                    <a:pt x="358" y="189"/>
                  </a:lnTo>
                  <a:lnTo>
                    <a:pt x="358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726AA5-B96F-AE4A-B572-612E3B01DD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D018D3C-9B13-8F4B-8084-182F1349B91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9021" y="5315077"/>
            <a:ext cx="11591095" cy="1159887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5F3A25F1-79E7-1E44-83B3-E84B999AE58A}"/>
              </a:ext>
            </a:extLst>
          </p:cNvPr>
          <p:cNvSpPr txBox="1"/>
          <p:nvPr/>
        </p:nvSpPr>
        <p:spPr>
          <a:xfrm>
            <a:off x="3240757" y="4762432"/>
            <a:ext cx="4050468" cy="501676"/>
          </a:xfrm>
          <a:prstGeom prst="rect">
            <a:avLst/>
          </a:prstGeom>
          <a:solidFill>
            <a:schemeClr val="bg1">
              <a:alpha val="72090"/>
            </a:schemeClr>
          </a:solidFill>
        </p:spPr>
        <p:txBody>
          <a:bodyPr wrap="none" rtlCol="0">
            <a:spAutoFit/>
          </a:bodyPr>
          <a:lstStyle/>
          <a:p>
            <a:pPr algn="l"/>
            <a:r>
              <a:rPr lang="en-US" sz="2800" dirty="0"/>
              <a:t>Our timeline was LIMITED</a:t>
            </a:r>
          </a:p>
        </p:txBody>
      </p:sp>
    </p:spTree>
    <p:extLst>
      <p:ext uri="{BB962C8B-B14F-4D97-AF65-F5344CB8AC3E}">
        <p14:creationId xmlns:p14="http://schemas.microsoft.com/office/powerpoint/2010/main" val="382570960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8" name="Picture 77">
            <a:extLst>
              <a:ext uri="{FF2B5EF4-FFF2-40B4-BE49-F238E27FC236}">
                <a16:creationId xmlns:a16="http://schemas.microsoft.com/office/drawing/2014/main" id="{9FE16A05-17BA-9F46-908F-30FCDF7AED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17105"/>
            <a:ext cx="11522075" cy="648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EA0854C3-BCA3-6F47-B791-AA4472B8CA57}"/>
              </a:ext>
            </a:extLst>
          </p:cNvPr>
          <p:cNvGrpSpPr/>
          <p:nvPr/>
        </p:nvGrpSpPr>
        <p:grpSpPr>
          <a:xfrm>
            <a:off x="7705253" y="3096071"/>
            <a:ext cx="3600400" cy="792088"/>
            <a:chOff x="8065293" y="3168079"/>
            <a:chExt cx="3600400" cy="792088"/>
          </a:xfrm>
        </p:grpSpPr>
        <p:sp>
          <p:nvSpPr>
            <p:cNvPr id="267" name="Rechteck 14">
              <a:extLst>
                <a:ext uri="{FF2B5EF4-FFF2-40B4-BE49-F238E27FC236}">
                  <a16:creationId xmlns:a16="http://schemas.microsoft.com/office/drawing/2014/main" id="{D7119AB7-13DD-5443-8B3A-766CAF0F2E51}"/>
                </a:ext>
              </a:extLst>
            </p:cNvPr>
            <p:cNvSpPr/>
            <p:nvPr/>
          </p:nvSpPr>
          <p:spPr bwMode="gray">
            <a:xfrm>
              <a:off x="8065293" y="3168079"/>
              <a:ext cx="3600400" cy="792088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l">
                <a:buClr>
                  <a:srgbClr val="9B9B9B"/>
                </a:buClr>
              </a:pPr>
              <a:r>
                <a:rPr lang="en-US" sz="2800" b="1" dirty="0"/>
                <a:t>1</a:t>
              </a:r>
              <a:r>
                <a:rPr lang="en-US" sz="1599" dirty="0">
                  <a:solidFill>
                    <a:schemeClr val="bg1"/>
                  </a:solidFill>
                </a:rPr>
                <a:t>  </a:t>
              </a:r>
              <a:r>
                <a:rPr lang="en-US" sz="2000" dirty="0">
                  <a:solidFill>
                    <a:schemeClr val="bg1"/>
                  </a:solidFill>
                </a:rPr>
                <a:t>second billing</a:t>
              </a:r>
              <a:endParaRPr lang="de-DE" sz="1800" kern="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4D77CC2E-D004-4746-94E5-912ADBB98AE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941458" y="3312095"/>
              <a:ext cx="580617" cy="544606"/>
              <a:chOff x="1370846" y="2721359"/>
              <a:chExt cx="245028" cy="306487"/>
            </a:xfrm>
            <a:solidFill>
              <a:schemeClr val="tx1"/>
            </a:solidFill>
          </p:grpSpPr>
          <p:sp>
            <p:nvSpPr>
              <p:cNvPr id="92" name="Freeform 87">
                <a:extLst>
                  <a:ext uri="{FF2B5EF4-FFF2-40B4-BE49-F238E27FC236}">
                    <a16:creationId xmlns:a16="http://schemas.microsoft.com/office/drawing/2014/main" id="{C83DC69C-2183-CA4B-970B-C2AEC41B81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70846" y="2755775"/>
                <a:ext cx="245028" cy="272071"/>
              </a:xfrm>
              <a:custGeom>
                <a:avLst/>
                <a:gdLst>
                  <a:gd name="T0" fmla="*/ 279 w 597"/>
                  <a:gd name="T1" fmla="*/ 66 h 663"/>
                  <a:gd name="T2" fmla="*/ 194 w 597"/>
                  <a:gd name="T3" fmla="*/ 85 h 663"/>
                  <a:gd name="T4" fmla="*/ 101 w 597"/>
                  <a:gd name="T5" fmla="*/ 141 h 663"/>
                  <a:gd name="T6" fmla="*/ 33 w 597"/>
                  <a:gd name="T7" fmla="*/ 227 h 663"/>
                  <a:gd name="T8" fmla="*/ 1 w 597"/>
                  <a:gd name="T9" fmla="*/ 336 h 663"/>
                  <a:gd name="T10" fmla="*/ 6 w 597"/>
                  <a:gd name="T11" fmla="*/ 425 h 663"/>
                  <a:gd name="T12" fmla="*/ 51 w 597"/>
                  <a:gd name="T13" fmla="*/ 532 h 663"/>
                  <a:gd name="T14" fmla="*/ 131 w 597"/>
                  <a:gd name="T15" fmla="*/ 612 h 663"/>
                  <a:gd name="T16" fmla="*/ 237 w 597"/>
                  <a:gd name="T17" fmla="*/ 656 h 663"/>
                  <a:gd name="T18" fmla="*/ 329 w 597"/>
                  <a:gd name="T19" fmla="*/ 661 h 663"/>
                  <a:gd name="T20" fmla="*/ 440 w 597"/>
                  <a:gd name="T21" fmla="*/ 626 h 663"/>
                  <a:gd name="T22" fmla="*/ 528 w 597"/>
                  <a:gd name="T23" fmla="*/ 555 h 663"/>
                  <a:gd name="T24" fmla="*/ 583 w 597"/>
                  <a:gd name="T25" fmla="*/ 454 h 663"/>
                  <a:gd name="T26" fmla="*/ 597 w 597"/>
                  <a:gd name="T27" fmla="*/ 364 h 663"/>
                  <a:gd name="T28" fmla="*/ 575 w 597"/>
                  <a:gd name="T29" fmla="*/ 252 h 663"/>
                  <a:gd name="T30" fmla="*/ 517 w 597"/>
                  <a:gd name="T31" fmla="*/ 161 h 663"/>
                  <a:gd name="T32" fmla="*/ 429 w 597"/>
                  <a:gd name="T33" fmla="*/ 96 h 663"/>
                  <a:gd name="T34" fmla="*/ 319 w 597"/>
                  <a:gd name="T35" fmla="*/ 66 h 663"/>
                  <a:gd name="T36" fmla="*/ 467 w 597"/>
                  <a:gd name="T37" fmla="*/ 503 h 663"/>
                  <a:gd name="T38" fmla="*/ 439 w 597"/>
                  <a:gd name="T39" fmla="*/ 503 h 663"/>
                  <a:gd name="T40" fmla="*/ 435 w 597"/>
                  <a:gd name="T41" fmla="*/ 525 h 663"/>
                  <a:gd name="T42" fmla="*/ 452 w 597"/>
                  <a:gd name="T43" fmla="*/ 572 h 663"/>
                  <a:gd name="T44" fmla="*/ 380 w 597"/>
                  <a:gd name="T45" fmla="*/ 610 h 663"/>
                  <a:gd name="T46" fmla="*/ 321 w 597"/>
                  <a:gd name="T47" fmla="*/ 582 h 663"/>
                  <a:gd name="T48" fmla="*/ 307 w 597"/>
                  <a:gd name="T49" fmla="*/ 563 h 663"/>
                  <a:gd name="T50" fmla="*/ 286 w 597"/>
                  <a:gd name="T51" fmla="*/ 567 h 663"/>
                  <a:gd name="T52" fmla="*/ 279 w 597"/>
                  <a:gd name="T53" fmla="*/ 621 h 663"/>
                  <a:gd name="T54" fmla="*/ 199 w 597"/>
                  <a:gd name="T55" fmla="*/ 603 h 663"/>
                  <a:gd name="T56" fmla="*/ 131 w 597"/>
                  <a:gd name="T57" fmla="*/ 562 h 663"/>
                  <a:gd name="T58" fmla="*/ 166 w 597"/>
                  <a:gd name="T59" fmla="*/ 518 h 663"/>
                  <a:gd name="T60" fmla="*/ 154 w 597"/>
                  <a:gd name="T61" fmla="*/ 498 h 663"/>
                  <a:gd name="T62" fmla="*/ 103 w 597"/>
                  <a:gd name="T63" fmla="*/ 532 h 663"/>
                  <a:gd name="T64" fmla="*/ 69 w 597"/>
                  <a:gd name="T65" fmla="*/ 483 h 663"/>
                  <a:gd name="T66" fmla="*/ 43 w 597"/>
                  <a:gd name="T67" fmla="*/ 405 h 663"/>
                  <a:gd name="T68" fmla="*/ 91 w 597"/>
                  <a:gd name="T69" fmla="*/ 382 h 663"/>
                  <a:gd name="T70" fmla="*/ 103 w 597"/>
                  <a:gd name="T71" fmla="*/ 364 h 663"/>
                  <a:gd name="T72" fmla="*/ 83 w 597"/>
                  <a:gd name="T73" fmla="*/ 344 h 663"/>
                  <a:gd name="T74" fmla="*/ 48 w 597"/>
                  <a:gd name="T75" fmla="*/ 302 h 663"/>
                  <a:gd name="T76" fmla="*/ 79 w 597"/>
                  <a:gd name="T77" fmla="*/ 227 h 663"/>
                  <a:gd name="T78" fmla="*/ 131 w 597"/>
                  <a:gd name="T79" fmla="*/ 224 h 663"/>
                  <a:gd name="T80" fmla="*/ 154 w 597"/>
                  <a:gd name="T81" fmla="*/ 229 h 663"/>
                  <a:gd name="T82" fmla="*/ 166 w 597"/>
                  <a:gd name="T83" fmla="*/ 211 h 663"/>
                  <a:gd name="T84" fmla="*/ 131 w 597"/>
                  <a:gd name="T85" fmla="*/ 168 h 663"/>
                  <a:gd name="T86" fmla="*/ 207 w 597"/>
                  <a:gd name="T87" fmla="*/ 123 h 663"/>
                  <a:gd name="T88" fmla="*/ 299 w 597"/>
                  <a:gd name="T89" fmla="*/ 106 h 663"/>
                  <a:gd name="T90" fmla="*/ 367 w 597"/>
                  <a:gd name="T91" fmla="*/ 116 h 663"/>
                  <a:gd name="T92" fmla="*/ 449 w 597"/>
                  <a:gd name="T93" fmla="*/ 154 h 663"/>
                  <a:gd name="T94" fmla="*/ 435 w 597"/>
                  <a:gd name="T95" fmla="*/ 203 h 663"/>
                  <a:gd name="T96" fmla="*/ 439 w 597"/>
                  <a:gd name="T97" fmla="*/ 224 h 663"/>
                  <a:gd name="T98" fmla="*/ 460 w 597"/>
                  <a:gd name="T99" fmla="*/ 229 h 663"/>
                  <a:gd name="T100" fmla="*/ 507 w 597"/>
                  <a:gd name="T101" fmla="*/ 213 h 663"/>
                  <a:gd name="T102" fmla="*/ 543 w 597"/>
                  <a:gd name="T103" fmla="*/ 284 h 663"/>
                  <a:gd name="T104" fmla="*/ 517 w 597"/>
                  <a:gd name="T105" fmla="*/ 344 h 663"/>
                  <a:gd name="T106" fmla="*/ 499 w 597"/>
                  <a:gd name="T107" fmla="*/ 355 h 663"/>
                  <a:gd name="T108" fmla="*/ 502 w 597"/>
                  <a:gd name="T109" fmla="*/ 379 h 663"/>
                  <a:gd name="T110" fmla="*/ 555 w 597"/>
                  <a:gd name="T111" fmla="*/ 384 h 663"/>
                  <a:gd name="T112" fmla="*/ 537 w 597"/>
                  <a:gd name="T113" fmla="*/ 464 h 663"/>
                  <a:gd name="T114" fmla="*/ 495 w 597"/>
                  <a:gd name="T115" fmla="*/ 532 h 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97" h="663">
                    <a:moveTo>
                      <a:pt x="319" y="66"/>
                    </a:moveTo>
                    <a:lnTo>
                      <a:pt x="319" y="0"/>
                    </a:lnTo>
                    <a:lnTo>
                      <a:pt x="279" y="0"/>
                    </a:lnTo>
                    <a:lnTo>
                      <a:pt x="279" y="66"/>
                    </a:lnTo>
                    <a:lnTo>
                      <a:pt x="279" y="66"/>
                    </a:lnTo>
                    <a:lnTo>
                      <a:pt x="249" y="70"/>
                    </a:lnTo>
                    <a:lnTo>
                      <a:pt x="222" y="76"/>
                    </a:lnTo>
                    <a:lnTo>
                      <a:pt x="194" y="85"/>
                    </a:lnTo>
                    <a:lnTo>
                      <a:pt x="169" y="94"/>
                    </a:lnTo>
                    <a:lnTo>
                      <a:pt x="144" y="108"/>
                    </a:lnTo>
                    <a:lnTo>
                      <a:pt x="121" y="123"/>
                    </a:lnTo>
                    <a:lnTo>
                      <a:pt x="101" y="141"/>
                    </a:lnTo>
                    <a:lnTo>
                      <a:pt x="81" y="159"/>
                    </a:lnTo>
                    <a:lnTo>
                      <a:pt x="63" y="181"/>
                    </a:lnTo>
                    <a:lnTo>
                      <a:pt x="46" y="203"/>
                    </a:lnTo>
                    <a:lnTo>
                      <a:pt x="33" y="227"/>
                    </a:lnTo>
                    <a:lnTo>
                      <a:pt x="21" y="252"/>
                    </a:lnTo>
                    <a:lnTo>
                      <a:pt x="11" y="279"/>
                    </a:lnTo>
                    <a:lnTo>
                      <a:pt x="5" y="307"/>
                    </a:lnTo>
                    <a:lnTo>
                      <a:pt x="1" y="336"/>
                    </a:lnTo>
                    <a:lnTo>
                      <a:pt x="0" y="364"/>
                    </a:lnTo>
                    <a:lnTo>
                      <a:pt x="0" y="364"/>
                    </a:lnTo>
                    <a:lnTo>
                      <a:pt x="1" y="395"/>
                    </a:lnTo>
                    <a:lnTo>
                      <a:pt x="6" y="425"/>
                    </a:lnTo>
                    <a:lnTo>
                      <a:pt x="13" y="454"/>
                    </a:lnTo>
                    <a:lnTo>
                      <a:pt x="23" y="480"/>
                    </a:lnTo>
                    <a:lnTo>
                      <a:pt x="36" y="507"/>
                    </a:lnTo>
                    <a:lnTo>
                      <a:pt x="51" y="532"/>
                    </a:lnTo>
                    <a:lnTo>
                      <a:pt x="68" y="555"/>
                    </a:lnTo>
                    <a:lnTo>
                      <a:pt x="88" y="575"/>
                    </a:lnTo>
                    <a:lnTo>
                      <a:pt x="108" y="595"/>
                    </a:lnTo>
                    <a:lnTo>
                      <a:pt x="131" y="612"/>
                    </a:lnTo>
                    <a:lnTo>
                      <a:pt x="156" y="626"/>
                    </a:lnTo>
                    <a:lnTo>
                      <a:pt x="183" y="640"/>
                    </a:lnTo>
                    <a:lnTo>
                      <a:pt x="209" y="650"/>
                    </a:lnTo>
                    <a:lnTo>
                      <a:pt x="237" y="656"/>
                    </a:lnTo>
                    <a:lnTo>
                      <a:pt x="267" y="661"/>
                    </a:lnTo>
                    <a:lnTo>
                      <a:pt x="299" y="663"/>
                    </a:lnTo>
                    <a:lnTo>
                      <a:pt x="299" y="663"/>
                    </a:lnTo>
                    <a:lnTo>
                      <a:pt x="329" y="661"/>
                    </a:lnTo>
                    <a:lnTo>
                      <a:pt x="359" y="656"/>
                    </a:lnTo>
                    <a:lnTo>
                      <a:pt x="387" y="650"/>
                    </a:lnTo>
                    <a:lnTo>
                      <a:pt x="414" y="640"/>
                    </a:lnTo>
                    <a:lnTo>
                      <a:pt x="440" y="626"/>
                    </a:lnTo>
                    <a:lnTo>
                      <a:pt x="465" y="612"/>
                    </a:lnTo>
                    <a:lnTo>
                      <a:pt x="489" y="595"/>
                    </a:lnTo>
                    <a:lnTo>
                      <a:pt x="510" y="575"/>
                    </a:lnTo>
                    <a:lnTo>
                      <a:pt x="528" y="555"/>
                    </a:lnTo>
                    <a:lnTo>
                      <a:pt x="547" y="532"/>
                    </a:lnTo>
                    <a:lnTo>
                      <a:pt x="562" y="507"/>
                    </a:lnTo>
                    <a:lnTo>
                      <a:pt x="573" y="480"/>
                    </a:lnTo>
                    <a:lnTo>
                      <a:pt x="583" y="454"/>
                    </a:lnTo>
                    <a:lnTo>
                      <a:pt x="592" y="425"/>
                    </a:lnTo>
                    <a:lnTo>
                      <a:pt x="595" y="395"/>
                    </a:lnTo>
                    <a:lnTo>
                      <a:pt x="597" y="364"/>
                    </a:lnTo>
                    <a:lnTo>
                      <a:pt x="597" y="364"/>
                    </a:lnTo>
                    <a:lnTo>
                      <a:pt x="595" y="336"/>
                    </a:lnTo>
                    <a:lnTo>
                      <a:pt x="592" y="307"/>
                    </a:lnTo>
                    <a:lnTo>
                      <a:pt x="585" y="279"/>
                    </a:lnTo>
                    <a:lnTo>
                      <a:pt x="575" y="252"/>
                    </a:lnTo>
                    <a:lnTo>
                      <a:pt x="563" y="227"/>
                    </a:lnTo>
                    <a:lnTo>
                      <a:pt x="550" y="204"/>
                    </a:lnTo>
                    <a:lnTo>
                      <a:pt x="533" y="181"/>
                    </a:lnTo>
                    <a:lnTo>
                      <a:pt x="517" y="161"/>
                    </a:lnTo>
                    <a:lnTo>
                      <a:pt x="497" y="141"/>
                    </a:lnTo>
                    <a:lnTo>
                      <a:pt x="475" y="124"/>
                    </a:lnTo>
                    <a:lnTo>
                      <a:pt x="452" y="108"/>
                    </a:lnTo>
                    <a:lnTo>
                      <a:pt x="429" y="96"/>
                    </a:lnTo>
                    <a:lnTo>
                      <a:pt x="402" y="85"/>
                    </a:lnTo>
                    <a:lnTo>
                      <a:pt x="375" y="76"/>
                    </a:lnTo>
                    <a:lnTo>
                      <a:pt x="347" y="70"/>
                    </a:lnTo>
                    <a:lnTo>
                      <a:pt x="319" y="66"/>
                    </a:lnTo>
                    <a:lnTo>
                      <a:pt x="319" y="66"/>
                    </a:lnTo>
                    <a:close/>
                    <a:moveTo>
                      <a:pt x="495" y="532"/>
                    </a:moveTo>
                    <a:lnTo>
                      <a:pt x="467" y="503"/>
                    </a:lnTo>
                    <a:lnTo>
                      <a:pt x="467" y="503"/>
                    </a:lnTo>
                    <a:lnTo>
                      <a:pt x="460" y="498"/>
                    </a:lnTo>
                    <a:lnTo>
                      <a:pt x="454" y="497"/>
                    </a:lnTo>
                    <a:lnTo>
                      <a:pt x="445" y="498"/>
                    </a:lnTo>
                    <a:lnTo>
                      <a:pt x="439" y="503"/>
                    </a:lnTo>
                    <a:lnTo>
                      <a:pt x="439" y="503"/>
                    </a:lnTo>
                    <a:lnTo>
                      <a:pt x="435" y="510"/>
                    </a:lnTo>
                    <a:lnTo>
                      <a:pt x="434" y="518"/>
                    </a:lnTo>
                    <a:lnTo>
                      <a:pt x="435" y="525"/>
                    </a:lnTo>
                    <a:lnTo>
                      <a:pt x="439" y="532"/>
                    </a:lnTo>
                    <a:lnTo>
                      <a:pt x="467" y="560"/>
                    </a:lnTo>
                    <a:lnTo>
                      <a:pt x="467" y="560"/>
                    </a:lnTo>
                    <a:lnTo>
                      <a:pt x="452" y="572"/>
                    </a:lnTo>
                    <a:lnTo>
                      <a:pt x="435" y="583"/>
                    </a:lnTo>
                    <a:lnTo>
                      <a:pt x="417" y="593"/>
                    </a:lnTo>
                    <a:lnTo>
                      <a:pt x="399" y="602"/>
                    </a:lnTo>
                    <a:lnTo>
                      <a:pt x="380" y="610"/>
                    </a:lnTo>
                    <a:lnTo>
                      <a:pt x="360" y="615"/>
                    </a:lnTo>
                    <a:lnTo>
                      <a:pt x="341" y="618"/>
                    </a:lnTo>
                    <a:lnTo>
                      <a:pt x="321" y="621"/>
                    </a:lnTo>
                    <a:lnTo>
                      <a:pt x="321" y="582"/>
                    </a:lnTo>
                    <a:lnTo>
                      <a:pt x="321" y="582"/>
                    </a:lnTo>
                    <a:lnTo>
                      <a:pt x="319" y="573"/>
                    </a:lnTo>
                    <a:lnTo>
                      <a:pt x="314" y="567"/>
                    </a:lnTo>
                    <a:lnTo>
                      <a:pt x="307" y="563"/>
                    </a:lnTo>
                    <a:lnTo>
                      <a:pt x="299" y="562"/>
                    </a:lnTo>
                    <a:lnTo>
                      <a:pt x="299" y="562"/>
                    </a:lnTo>
                    <a:lnTo>
                      <a:pt x="292" y="563"/>
                    </a:lnTo>
                    <a:lnTo>
                      <a:pt x="286" y="567"/>
                    </a:lnTo>
                    <a:lnTo>
                      <a:pt x="281" y="573"/>
                    </a:lnTo>
                    <a:lnTo>
                      <a:pt x="279" y="582"/>
                    </a:lnTo>
                    <a:lnTo>
                      <a:pt x="279" y="621"/>
                    </a:lnTo>
                    <a:lnTo>
                      <a:pt x="279" y="621"/>
                    </a:lnTo>
                    <a:lnTo>
                      <a:pt x="259" y="620"/>
                    </a:lnTo>
                    <a:lnTo>
                      <a:pt x="237" y="615"/>
                    </a:lnTo>
                    <a:lnTo>
                      <a:pt x="219" y="610"/>
                    </a:lnTo>
                    <a:lnTo>
                      <a:pt x="199" y="603"/>
                    </a:lnTo>
                    <a:lnTo>
                      <a:pt x="181" y="595"/>
                    </a:lnTo>
                    <a:lnTo>
                      <a:pt x="164" y="585"/>
                    </a:lnTo>
                    <a:lnTo>
                      <a:pt x="148" y="573"/>
                    </a:lnTo>
                    <a:lnTo>
                      <a:pt x="131" y="562"/>
                    </a:lnTo>
                    <a:lnTo>
                      <a:pt x="161" y="532"/>
                    </a:lnTo>
                    <a:lnTo>
                      <a:pt x="161" y="532"/>
                    </a:lnTo>
                    <a:lnTo>
                      <a:pt x="164" y="525"/>
                    </a:lnTo>
                    <a:lnTo>
                      <a:pt x="166" y="518"/>
                    </a:lnTo>
                    <a:lnTo>
                      <a:pt x="164" y="510"/>
                    </a:lnTo>
                    <a:lnTo>
                      <a:pt x="161" y="503"/>
                    </a:lnTo>
                    <a:lnTo>
                      <a:pt x="161" y="503"/>
                    </a:lnTo>
                    <a:lnTo>
                      <a:pt x="154" y="498"/>
                    </a:lnTo>
                    <a:lnTo>
                      <a:pt x="146" y="497"/>
                    </a:lnTo>
                    <a:lnTo>
                      <a:pt x="138" y="498"/>
                    </a:lnTo>
                    <a:lnTo>
                      <a:pt x="131" y="503"/>
                    </a:lnTo>
                    <a:lnTo>
                      <a:pt x="103" y="532"/>
                    </a:lnTo>
                    <a:lnTo>
                      <a:pt x="103" y="532"/>
                    </a:lnTo>
                    <a:lnTo>
                      <a:pt x="89" y="517"/>
                    </a:lnTo>
                    <a:lnTo>
                      <a:pt x="79" y="500"/>
                    </a:lnTo>
                    <a:lnTo>
                      <a:pt x="69" y="483"/>
                    </a:lnTo>
                    <a:lnTo>
                      <a:pt x="59" y="465"/>
                    </a:lnTo>
                    <a:lnTo>
                      <a:pt x="53" y="445"/>
                    </a:lnTo>
                    <a:lnTo>
                      <a:pt x="48" y="425"/>
                    </a:lnTo>
                    <a:lnTo>
                      <a:pt x="43" y="405"/>
                    </a:lnTo>
                    <a:lnTo>
                      <a:pt x="41" y="384"/>
                    </a:lnTo>
                    <a:lnTo>
                      <a:pt x="83" y="384"/>
                    </a:lnTo>
                    <a:lnTo>
                      <a:pt x="83" y="384"/>
                    </a:lnTo>
                    <a:lnTo>
                      <a:pt x="91" y="382"/>
                    </a:lnTo>
                    <a:lnTo>
                      <a:pt x="96" y="379"/>
                    </a:lnTo>
                    <a:lnTo>
                      <a:pt x="101" y="372"/>
                    </a:lnTo>
                    <a:lnTo>
                      <a:pt x="103" y="364"/>
                    </a:lnTo>
                    <a:lnTo>
                      <a:pt x="103" y="364"/>
                    </a:lnTo>
                    <a:lnTo>
                      <a:pt x="101" y="355"/>
                    </a:lnTo>
                    <a:lnTo>
                      <a:pt x="96" y="351"/>
                    </a:lnTo>
                    <a:lnTo>
                      <a:pt x="91" y="346"/>
                    </a:lnTo>
                    <a:lnTo>
                      <a:pt x="83" y="344"/>
                    </a:lnTo>
                    <a:lnTo>
                      <a:pt x="41" y="344"/>
                    </a:lnTo>
                    <a:lnTo>
                      <a:pt x="41" y="344"/>
                    </a:lnTo>
                    <a:lnTo>
                      <a:pt x="43" y="322"/>
                    </a:lnTo>
                    <a:lnTo>
                      <a:pt x="48" y="302"/>
                    </a:lnTo>
                    <a:lnTo>
                      <a:pt x="53" y="282"/>
                    </a:lnTo>
                    <a:lnTo>
                      <a:pt x="61" y="264"/>
                    </a:lnTo>
                    <a:lnTo>
                      <a:pt x="69" y="246"/>
                    </a:lnTo>
                    <a:lnTo>
                      <a:pt x="79" y="227"/>
                    </a:lnTo>
                    <a:lnTo>
                      <a:pt x="91" y="213"/>
                    </a:lnTo>
                    <a:lnTo>
                      <a:pt x="103" y="196"/>
                    </a:lnTo>
                    <a:lnTo>
                      <a:pt x="131" y="224"/>
                    </a:lnTo>
                    <a:lnTo>
                      <a:pt x="131" y="224"/>
                    </a:lnTo>
                    <a:lnTo>
                      <a:pt x="138" y="229"/>
                    </a:lnTo>
                    <a:lnTo>
                      <a:pt x="146" y="231"/>
                    </a:lnTo>
                    <a:lnTo>
                      <a:pt x="146" y="231"/>
                    </a:lnTo>
                    <a:lnTo>
                      <a:pt x="154" y="229"/>
                    </a:lnTo>
                    <a:lnTo>
                      <a:pt x="161" y="224"/>
                    </a:lnTo>
                    <a:lnTo>
                      <a:pt x="161" y="224"/>
                    </a:lnTo>
                    <a:lnTo>
                      <a:pt x="164" y="218"/>
                    </a:lnTo>
                    <a:lnTo>
                      <a:pt x="166" y="211"/>
                    </a:lnTo>
                    <a:lnTo>
                      <a:pt x="164" y="203"/>
                    </a:lnTo>
                    <a:lnTo>
                      <a:pt x="161" y="196"/>
                    </a:lnTo>
                    <a:lnTo>
                      <a:pt x="131" y="168"/>
                    </a:lnTo>
                    <a:lnTo>
                      <a:pt x="131" y="168"/>
                    </a:lnTo>
                    <a:lnTo>
                      <a:pt x="149" y="154"/>
                    </a:lnTo>
                    <a:lnTo>
                      <a:pt x="168" y="141"/>
                    </a:lnTo>
                    <a:lnTo>
                      <a:pt x="188" y="131"/>
                    </a:lnTo>
                    <a:lnTo>
                      <a:pt x="207" y="123"/>
                    </a:lnTo>
                    <a:lnTo>
                      <a:pt x="229" y="116"/>
                    </a:lnTo>
                    <a:lnTo>
                      <a:pt x="252" y="111"/>
                    </a:lnTo>
                    <a:lnTo>
                      <a:pt x="274" y="108"/>
                    </a:lnTo>
                    <a:lnTo>
                      <a:pt x="299" y="106"/>
                    </a:lnTo>
                    <a:lnTo>
                      <a:pt x="299" y="106"/>
                    </a:lnTo>
                    <a:lnTo>
                      <a:pt x="322" y="108"/>
                    </a:lnTo>
                    <a:lnTo>
                      <a:pt x="346" y="111"/>
                    </a:lnTo>
                    <a:lnTo>
                      <a:pt x="367" y="116"/>
                    </a:lnTo>
                    <a:lnTo>
                      <a:pt x="389" y="123"/>
                    </a:lnTo>
                    <a:lnTo>
                      <a:pt x="410" y="133"/>
                    </a:lnTo>
                    <a:lnTo>
                      <a:pt x="430" y="143"/>
                    </a:lnTo>
                    <a:lnTo>
                      <a:pt x="449" y="154"/>
                    </a:lnTo>
                    <a:lnTo>
                      <a:pt x="467" y="169"/>
                    </a:lnTo>
                    <a:lnTo>
                      <a:pt x="439" y="196"/>
                    </a:lnTo>
                    <a:lnTo>
                      <a:pt x="439" y="196"/>
                    </a:lnTo>
                    <a:lnTo>
                      <a:pt x="435" y="203"/>
                    </a:lnTo>
                    <a:lnTo>
                      <a:pt x="434" y="211"/>
                    </a:lnTo>
                    <a:lnTo>
                      <a:pt x="435" y="218"/>
                    </a:lnTo>
                    <a:lnTo>
                      <a:pt x="439" y="224"/>
                    </a:lnTo>
                    <a:lnTo>
                      <a:pt x="439" y="224"/>
                    </a:lnTo>
                    <a:lnTo>
                      <a:pt x="445" y="229"/>
                    </a:lnTo>
                    <a:lnTo>
                      <a:pt x="454" y="231"/>
                    </a:lnTo>
                    <a:lnTo>
                      <a:pt x="454" y="231"/>
                    </a:lnTo>
                    <a:lnTo>
                      <a:pt x="460" y="229"/>
                    </a:lnTo>
                    <a:lnTo>
                      <a:pt x="467" y="224"/>
                    </a:lnTo>
                    <a:lnTo>
                      <a:pt x="495" y="198"/>
                    </a:lnTo>
                    <a:lnTo>
                      <a:pt x="495" y="198"/>
                    </a:lnTo>
                    <a:lnTo>
                      <a:pt x="507" y="213"/>
                    </a:lnTo>
                    <a:lnTo>
                      <a:pt x="518" y="229"/>
                    </a:lnTo>
                    <a:lnTo>
                      <a:pt x="528" y="247"/>
                    </a:lnTo>
                    <a:lnTo>
                      <a:pt x="537" y="266"/>
                    </a:lnTo>
                    <a:lnTo>
                      <a:pt x="543" y="284"/>
                    </a:lnTo>
                    <a:lnTo>
                      <a:pt x="548" y="304"/>
                    </a:lnTo>
                    <a:lnTo>
                      <a:pt x="553" y="324"/>
                    </a:lnTo>
                    <a:lnTo>
                      <a:pt x="555" y="344"/>
                    </a:lnTo>
                    <a:lnTo>
                      <a:pt x="517" y="344"/>
                    </a:lnTo>
                    <a:lnTo>
                      <a:pt x="517" y="344"/>
                    </a:lnTo>
                    <a:lnTo>
                      <a:pt x="509" y="346"/>
                    </a:lnTo>
                    <a:lnTo>
                      <a:pt x="502" y="351"/>
                    </a:lnTo>
                    <a:lnTo>
                      <a:pt x="499" y="355"/>
                    </a:lnTo>
                    <a:lnTo>
                      <a:pt x="497" y="364"/>
                    </a:lnTo>
                    <a:lnTo>
                      <a:pt x="497" y="364"/>
                    </a:lnTo>
                    <a:lnTo>
                      <a:pt x="499" y="372"/>
                    </a:lnTo>
                    <a:lnTo>
                      <a:pt x="502" y="379"/>
                    </a:lnTo>
                    <a:lnTo>
                      <a:pt x="509" y="382"/>
                    </a:lnTo>
                    <a:lnTo>
                      <a:pt x="517" y="384"/>
                    </a:lnTo>
                    <a:lnTo>
                      <a:pt x="555" y="384"/>
                    </a:lnTo>
                    <a:lnTo>
                      <a:pt x="555" y="384"/>
                    </a:lnTo>
                    <a:lnTo>
                      <a:pt x="553" y="405"/>
                    </a:lnTo>
                    <a:lnTo>
                      <a:pt x="548" y="425"/>
                    </a:lnTo>
                    <a:lnTo>
                      <a:pt x="543" y="445"/>
                    </a:lnTo>
                    <a:lnTo>
                      <a:pt x="537" y="464"/>
                    </a:lnTo>
                    <a:lnTo>
                      <a:pt x="528" y="482"/>
                    </a:lnTo>
                    <a:lnTo>
                      <a:pt x="518" y="498"/>
                    </a:lnTo>
                    <a:lnTo>
                      <a:pt x="507" y="515"/>
                    </a:lnTo>
                    <a:lnTo>
                      <a:pt x="495" y="532"/>
                    </a:lnTo>
                    <a:lnTo>
                      <a:pt x="495" y="5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3" name="Freeform 88">
                <a:extLst>
                  <a:ext uri="{FF2B5EF4-FFF2-40B4-BE49-F238E27FC236}">
                    <a16:creationId xmlns:a16="http://schemas.microsoft.com/office/drawing/2014/main" id="{BA72EAD0-8910-B94F-983D-A3DB2351BF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7879" y="2721359"/>
                <a:ext cx="91783" cy="45891"/>
              </a:xfrm>
              <a:custGeom>
                <a:avLst/>
                <a:gdLst>
                  <a:gd name="T0" fmla="*/ 39 w 222"/>
                  <a:gd name="T1" fmla="*/ 68 h 113"/>
                  <a:gd name="T2" fmla="*/ 39 w 222"/>
                  <a:gd name="T3" fmla="*/ 68 h 113"/>
                  <a:gd name="T4" fmla="*/ 41 w 222"/>
                  <a:gd name="T5" fmla="*/ 61 h 113"/>
                  <a:gd name="T6" fmla="*/ 41 w 222"/>
                  <a:gd name="T7" fmla="*/ 58 h 113"/>
                  <a:gd name="T8" fmla="*/ 48 w 222"/>
                  <a:gd name="T9" fmla="*/ 50 h 113"/>
                  <a:gd name="T10" fmla="*/ 56 w 222"/>
                  <a:gd name="T11" fmla="*/ 43 h 113"/>
                  <a:gd name="T12" fmla="*/ 61 w 222"/>
                  <a:gd name="T13" fmla="*/ 42 h 113"/>
                  <a:gd name="T14" fmla="*/ 66 w 222"/>
                  <a:gd name="T15" fmla="*/ 42 h 113"/>
                  <a:gd name="T16" fmla="*/ 156 w 222"/>
                  <a:gd name="T17" fmla="*/ 42 h 113"/>
                  <a:gd name="T18" fmla="*/ 156 w 222"/>
                  <a:gd name="T19" fmla="*/ 42 h 113"/>
                  <a:gd name="T20" fmla="*/ 161 w 222"/>
                  <a:gd name="T21" fmla="*/ 42 h 113"/>
                  <a:gd name="T22" fmla="*/ 166 w 222"/>
                  <a:gd name="T23" fmla="*/ 43 h 113"/>
                  <a:gd name="T24" fmla="*/ 174 w 222"/>
                  <a:gd name="T25" fmla="*/ 50 h 113"/>
                  <a:gd name="T26" fmla="*/ 179 w 222"/>
                  <a:gd name="T27" fmla="*/ 58 h 113"/>
                  <a:gd name="T28" fmla="*/ 181 w 222"/>
                  <a:gd name="T29" fmla="*/ 61 h 113"/>
                  <a:gd name="T30" fmla="*/ 182 w 222"/>
                  <a:gd name="T31" fmla="*/ 68 h 113"/>
                  <a:gd name="T32" fmla="*/ 182 w 222"/>
                  <a:gd name="T33" fmla="*/ 113 h 113"/>
                  <a:gd name="T34" fmla="*/ 222 w 222"/>
                  <a:gd name="T35" fmla="*/ 113 h 113"/>
                  <a:gd name="T36" fmla="*/ 222 w 222"/>
                  <a:gd name="T37" fmla="*/ 68 h 113"/>
                  <a:gd name="T38" fmla="*/ 222 w 222"/>
                  <a:gd name="T39" fmla="*/ 68 h 113"/>
                  <a:gd name="T40" fmla="*/ 221 w 222"/>
                  <a:gd name="T41" fmla="*/ 55 h 113"/>
                  <a:gd name="T42" fmla="*/ 217 w 222"/>
                  <a:gd name="T43" fmla="*/ 42 h 113"/>
                  <a:gd name="T44" fmla="*/ 211 w 222"/>
                  <a:gd name="T45" fmla="*/ 30 h 113"/>
                  <a:gd name="T46" fmla="*/ 202 w 222"/>
                  <a:gd name="T47" fmla="*/ 20 h 113"/>
                  <a:gd name="T48" fmla="*/ 192 w 222"/>
                  <a:gd name="T49" fmla="*/ 12 h 113"/>
                  <a:gd name="T50" fmla="*/ 181 w 222"/>
                  <a:gd name="T51" fmla="*/ 7 h 113"/>
                  <a:gd name="T52" fmla="*/ 169 w 222"/>
                  <a:gd name="T53" fmla="*/ 2 h 113"/>
                  <a:gd name="T54" fmla="*/ 156 w 222"/>
                  <a:gd name="T55" fmla="*/ 0 h 113"/>
                  <a:gd name="T56" fmla="*/ 66 w 222"/>
                  <a:gd name="T57" fmla="*/ 0 h 113"/>
                  <a:gd name="T58" fmla="*/ 66 w 222"/>
                  <a:gd name="T59" fmla="*/ 0 h 113"/>
                  <a:gd name="T60" fmla="*/ 53 w 222"/>
                  <a:gd name="T61" fmla="*/ 2 h 113"/>
                  <a:gd name="T62" fmla="*/ 39 w 222"/>
                  <a:gd name="T63" fmla="*/ 7 h 113"/>
                  <a:gd name="T64" fmla="*/ 28 w 222"/>
                  <a:gd name="T65" fmla="*/ 12 h 113"/>
                  <a:gd name="T66" fmla="*/ 19 w 222"/>
                  <a:gd name="T67" fmla="*/ 20 h 113"/>
                  <a:gd name="T68" fmla="*/ 11 w 222"/>
                  <a:gd name="T69" fmla="*/ 30 h 113"/>
                  <a:gd name="T70" fmla="*/ 5 w 222"/>
                  <a:gd name="T71" fmla="*/ 42 h 113"/>
                  <a:gd name="T72" fmla="*/ 1 w 222"/>
                  <a:gd name="T73" fmla="*/ 55 h 113"/>
                  <a:gd name="T74" fmla="*/ 0 w 222"/>
                  <a:gd name="T75" fmla="*/ 68 h 113"/>
                  <a:gd name="T76" fmla="*/ 0 w 222"/>
                  <a:gd name="T77" fmla="*/ 113 h 113"/>
                  <a:gd name="T78" fmla="*/ 39 w 222"/>
                  <a:gd name="T79" fmla="*/ 113 h 113"/>
                  <a:gd name="T80" fmla="*/ 39 w 222"/>
                  <a:gd name="T81" fmla="*/ 68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22" h="113">
                    <a:moveTo>
                      <a:pt x="39" y="68"/>
                    </a:moveTo>
                    <a:lnTo>
                      <a:pt x="39" y="68"/>
                    </a:lnTo>
                    <a:lnTo>
                      <a:pt x="41" y="61"/>
                    </a:lnTo>
                    <a:lnTo>
                      <a:pt x="41" y="58"/>
                    </a:lnTo>
                    <a:lnTo>
                      <a:pt x="48" y="50"/>
                    </a:lnTo>
                    <a:lnTo>
                      <a:pt x="56" y="43"/>
                    </a:lnTo>
                    <a:lnTo>
                      <a:pt x="61" y="42"/>
                    </a:lnTo>
                    <a:lnTo>
                      <a:pt x="66" y="42"/>
                    </a:lnTo>
                    <a:lnTo>
                      <a:pt x="156" y="42"/>
                    </a:lnTo>
                    <a:lnTo>
                      <a:pt x="156" y="42"/>
                    </a:lnTo>
                    <a:lnTo>
                      <a:pt x="161" y="42"/>
                    </a:lnTo>
                    <a:lnTo>
                      <a:pt x="166" y="43"/>
                    </a:lnTo>
                    <a:lnTo>
                      <a:pt x="174" y="50"/>
                    </a:lnTo>
                    <a:lnTo>
                      <a:pt x="179" y="58"/>
                    </a:lnTo>
                    <a:lnTo>
                      <a:pt x="181" y="61"/>
                    </a:lnTo>
                    <a:lnTo>
                      <a:pt x="182" y="68"/>
                    </a:lnTo>
                    <a:lnTo>
                      <a:pt x="182" y="113"/>
                    </a:lnTo>
                    <a:lnTo>
                      <a:pt x="222" y="113"/>
                    </a:lnTo>
                    <a:lnTo>
                      <a:pt x="222" y="68"/>
                    </a:lnTo>
                    <a:lnTo>
                      <a:pt x="222" y="68"/>
                    </a:lnTo>
                    <a:lnTo>
                      <a:pt x="221" y="55"/>
                    </a:lnTo>
                    <a:lnTo>
                      <a:pt x="217" y="42"/>
                    </a:lnTo>
                    <a:lnTo>
                      <a:pt x="211" y="30"/>
                    </a:lnTo>
                    <a:lnTo>
                      <a:pt x="202" y="20"/>
                    </a:lnTo>
                    <a:lnTo>
                      <a:pt x="192" y="12"/>
                    </a:lnTo>
                    <a:lnTo>
                      <a:pt x="181" y="7"/>
                    </a:lnTo>
                    <a:lnTo>
                      <a:pt x="169" y="2"/>
                    </a:lnTo>
                    <a:lnTo>
                      <a:pt x="15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53" y="2"/>
                    </a:lnTo>
                    <a:lnTo>
                      <a:pt x="39" y="7"/>
                    </a:lnTo>
                    <a:lnTo>
                      <a:pt x="28" y="12"/>
                    </a:lnTo>
                    <a:lnTo>
                      <a:pt x="19" y="20"/>
                    </a:lnTo>
                    <a:lnTo>
                      <a:pt x="11" y="30"/>
                    </a:lnTo>
                    <a:lnTo>
                      <a:pt x="5" y="42"/>
                    </a:lnTo>
                    <a:lnTo>
                      <a:pt x="1" y="55"/>
                    </a:lnTo>
                    <a:lnTo>
                      <a:pt x="0" y="68"/>
                    </a:lnTo>
                    <a:lnTo>
                      <a:pt x="0" y="113"/>
                    </a:lnTo>
                    <a:lnTo>
                      <a:pt x="39" y="113"/>
                    </a:lnTo>
                    <a:lnTo>
                      <a:pt x="39" y="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4" name="Freeform 89">
                <a:extLst>
                  <a:ext uri="{FF2B5EF4-FFF2-40B4-BE49-F238E27FC236}">
                    <a16:creationId xmlns:a16="http://schemas.microsoft.com/office/drawing/2014/main" id="{D9AD213C-E71D-DE4A-A56A-9C9A7C6EC6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0802" y="2773806"/>
                <a:ext cx="42614" cy="40975"/>
              </a:xfrm>
              <a:custGeom>
                <a:avLst/>
                <a:gdLst>
                  <a:gd name="T0" fmla="*/ 73 w 105"/>
                  <a:gd name="T1" fmla="*/ 100 h 100"/>
                  <a:gd name="T2" fmla="*/ 105 w 105"/>
                  <a:gd name="T3" fmla="*/ 73 h 100"/>
                  <a:gd name="T4" fmla="*/ 105 w 105"/>
                  <a:gd name="T5" fmla="*/ 73 h 100"/>
                  <a:gd name="T6" fmla="*/ 86 w 105"/>
                  <a:gd name="T7" fmla="*/ 53 h 100"/>
                  <a:gd name="T8" fmla="*/ 66 w 105"/>
                  <a:gd name="T9" fmla="*/ 33 h 100"/>
                  <a:gd name="T10" fmla="*/ 45 w 105"/>
                  <a:gd name="T11" fmla="*/ 17 h 100"/>
                  <a:gd name="T12" fmla="*/ 22 w 105"/>
                  <a:gd name="T13" fmla="*/ 0 h 100"/>
                  <a:gd name="T14" fmla="*/ 0 w 105"/>
                  <a:gd name="T15" fmla="*/ 35 h 100"/>
                  <a:gd name="T16" fmla="*/ 0 w 105"/>
                  <a:gd name="T17" fmla="*/ 35 h 100"/>
                  <a:gd name="T18" fmla="*/ 20 w 105"/>
                  <a:gd name="T19" fmla="*/ 50 h 100"/>
                  <a:gd name="T20" fmla="*/ 38 w 105"/>
                  <a:gd name="T21" fmla="*/ 65 h 100"/>
                  <a:gd name="T22" fmla="*/ 56 w 105"/>
                  <a:gd name="T23" fmla="*/ 81 h 100"/>
                  <a:gd name="T24" fmla="*/ 73 w 105"/>
                  <a:gd name="T25" fmla="*/ 100 h 100"/>
                  <a:gd name="T26" fmla="*/ 73 w 105"/>
                  <a:gd name="T27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5" h="100">
                    <a:moveTo>
                      <a:pt x="73" y="100"/>
                    </a:moveTo>
                    <a:lnTo>
                      <a:pt x="105" y="73"/>
                    </a:lnTo>
                    <a:lnTo>
                      <a:pt x="105" y="73"/>
                    </a:lnTo>
                    <a:lnTo>
                      <a:pt x="86" y="53"/>
                    </a:lnTo>
                    <a:lnTo>
                      <a:pt x="66" y="33"/>
                    </a:lnTo>
                    <a:lnTo>
                      <a:pt x="45" y="17"/>
                    </a:lnTo>
                    <a:lnTo>
                      <a:pt x="22" y="0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20" y="50"/>
                    </a:lnTo>
                    <a:lnTo>
                      <a:pt x="38" y="65"/>
                    </a:lnTo>
                    <a:lnTo>
                      <a:pt x="56" y="81"/>
                    </a:lnTo>
                    <a:lnTo>
                      <a:pt x="73" y="100"/>
                    </a:lnTo>
                    <a:lnTo>
                      <a:pt x="73" y="1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5" name="Freeform 90">
                <a:extLst>
                  <a:ext uri="{FF2B5EF4-FFF2-40B4-BE49-F238E27FC236}">
                    <a16:creationId xmlns:a16="http://schemas.microsoft.com/office/drawing/2014/main" id="{B97220FC-8951-954A-A8D3-24F9F0BC8B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63449" y="2817239"/>
                <a:ext cx="60642" cy="138494"/>
              </a:xfrm>
              <a:custGeom>
                <a:avLst/>
                <a:gdLst>
                  <a:gd name="T0" fmla="*/ 95 w 150"/>
                  <a:gd name="T1" fmla="*/ 20 h 338"/>
                  <a:gd name="T2" fmla="*/ 93 w 150"/>
                  <a:gd name="T3" fmla="*/ 12 h 338"/>
                  <a:gd name="T4" fmla="*/ 83 w 150"/>
                  <a:gd name="T5" fmla="*/ 2 h 338"/>
                  <a:gd name="T6" fmla="*/ 75 w 150"/>
                  <a:gd name="T7" fmla="*/ 0 h 338"/>
                  <a:gd name="T8" fmla="*/ 60 w 150"/>
                  <a:gd name="T9" fmla="*/ 5 h 338"/>
                  <a:gd name="T10" fmla="*/ 55 w 150"/>
                  <a:gd name="T11" fmla="*/ 20 h 338"/>
                  <a:gd name="T12" fmla="*/ 55 w 150"/>
                  <a:gd name="T13" fmla="*/ 143 h 338"/>
                  <a:gd name="T14" fmla="*/ 33 w 150"/>
                  <a:gd name="T15" fmla="*/ 153 h 338"/>
                  <a:gd name="T16" fmla="*/ 15 w 150"/>
                  <a:gd name="T17" fmla="*/ 170 h 338"/>
                  <a:gd name="T18" fmla="*/ 5 w 150"/>
                  <a:gd name="T19" fmla="*/ 192 h 338"/>
                  <a:gd name="T20" fmla="*/ 0 w 150"/>
                  <a:gd name="T21" fmla="*/ 215 h 338"/>
                  <a:gd name="T22" fmla="*/ 2 w 150"/>
                  <a:gd name="T23" fmla="*/ 228 h 338"/>
                  <a:gd name="T24" fmla="*/ 8 w 150"/>
                  <a:gd name="T25" fmla="*/ 251 h 338"/>
                  <a:gd name="T26" fmla="*/ 23 w 150"/>
                  <a:gd name="T27" fmla="*/ 270 h 338"/>
                  <a:gd name="T28" fmla="*/ 43 w 150"/>
                  <a:gd name="T29" fmla="*/ 283 h 338"/>
                  <a:gd name="T30" fmla="*/ 55 w 150"/>
                  <a:gd name="T31" fmla="*/ 318 h 338"/>
                  <a:gd name="T32" fmla="*/ 57 w 150"/>
                  <a:gd name="T33" fmla="*/ 326 h 338"/>
                  <a:gd name="T34" fmla="*/ 67 w 150"/>
                  <a:gd name="T35" fmla="*/ 336 h 338"/>
                  <a:gd name="T36" fmla="*/ 75 w 150"/>
                  <a:gd name="T37" fmla="*/ 338 h 338"/>
                  <a:gd name="T38" fmla="*/ 90 w 150"/>
                  <a:gd name="T39" fmla="*/ 333 h 338"/>
                  <a:gd name="T40" fmla="*/ 95 w 150"/>
                  <a:gd name="T41" fmla="*/ 318 h 338"/>
                  <a:gd name="T42" fmla="*/ 95 w 150"/>
                  <a:gd name="T43" fmla="*/ 286 h 338"/>
                  <a:gd name="T44" fmla="*/ 117 w 150"/>
                  <a:gd name="T45" fmla="*/ 276 h 338"/>
                  <a:gd name="T46" fmla="*/ 133 w 150"/>
                  <a:gd name="T47" fmla="*/ 261 h 338"/>
                  <a:gd name="T48" fmla="*/ 145 w 150"/>
                  <a:gd name="T49" fmla="*/ 240 h 338"/>
                  <a:gd name="T50" fmla="*/ 150 w 150"/>
                  <a:gd name="T51" fmla="*/ 215 h 338"/>
                  <a:gd name="T52" fmla="*/ 148 w 150"/>
                  <a:gd name="T53" fmla="*/ 203 h 338"/>
                  <a:gd name="T54" fmla="*/ 140 w 150"/>
                  <a:gd name="T55" fmla="*/ 180 h 338"/>
                  <a:gd name="T56" fmla="*/ 127 w 150"/>
                  <a:gd name="T57" fmla="*/ 162 h 338"/>
                  <a:gd name="T58" fmla="*/ 107 w 150"/>
                  <a:gd name="T59" fmla="*/ 148 h 338"/>
                  <a:gd name="T60" fmla="*/ 95 w 150"/>
                  <a:gd name="T61" fmla="*/ 143 h 338"/>
                  <a:gd name="T62" fmla="*/ 95 w 150"/>
                  <a:gd name="T63" fmla="*/ 243 h 338"/>
                  <a:gd name="T64" fmla="*/ 75 w 150"/>
                  <a:gd name="T65" fmla="*/ 250 h 338"/>
                  <a:gd name="T66" fmla="*/ 63 w 150"/>
                  <a:gd name="T67" fmla="*/ 248 h 338"/>
                  <a:gd name="T68" fmla="*/ 55 w 150"/>
                  <a:gd name="T69" fmla="*/ 243 h 338"/>
                  <a:gd name="T70" fmla="*/ 45 w 150"/>
                  <a:gd name="T71" fmla="*/ 231 h 338"/>
                  <a:gd name="T72" fmla="*/ 40 w 150"/>
                  <a:gd name="T73" fmla="*/ 215 h 338"/>
                  <a:gd name="T74" fmla="*/ 42 w 150"/>
                  <a:gd name="T75" fmla="*/ 208 h 338"/>
                  <a:gd name="T76" fmla="*/ 48 w 150"/>
                  <a:gd name="T77" fmla="*/ 193 h 338"/>
                  <a:gd name="T78" fmla="*/ 55 w 150"/>
                  <a:gd name="T79" fmla="*/ 188 h 338"/>
                  <a:gd name="T80" fmla="*/ 75 w 150"/>
                  <a:gd name="T81" fmla="*/ 182 h 338"/>
                  <a:gd name="T82" fmla="*/ 85 w 150"/>
                  <a:gd name="T83" fmla="*/ 183 h 338"/>
                  <a:gd name="T84" fmla="*/ 95 w 150"/>
                  <a:gd name="T85" fmla="*/ 188 h 338"/>
                  <a:gd name="T86" fmla="*/ 105 w 150"/>
                  <a:gd name="T87" fmla="*/ 200 h 338"/>
                  <a:gd name="T88" fmla="*/ 108 w 150"/>
                  <a:gd name="T89" fmla="*/ 215 h 338"/>
                  <a:gd name="T90" fmla="*/ 108 w 150"/>
                  <a:gd name="T91" fmla="*/ 223 h 338"/>
                  <a:gd name="T92" fmla="*/ 100 w 150"/>
                  <a:gd name="T93" fmla="*/ 236 h 338"/>
                  <a:gd name="T94" fmla="*/ 95 w 150"/>
                  <a:gd name="T95" fmla="*/ 243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50" h="338">
                    <a:moveTo>
                      <a:pt x="95" y="143"/>
                    </a:moveTo>
                    <a:lnTo>
                      <a:pt x="95" y="20"/>
                    </a:lnTo>
                    <a:lnTo>
                      <a:pt x="95" y="20"/>
                    </a:lnTo>
                    <a:lnTo>
                      <a:pt x="93" y="12"/>
                    </a:lnTo>
                    <a:lnTo>
                      <a:pt x="90" y="5"/>
                    </a:lnTo>
                    <a:lnTo>
                      <a:pt x="83" y="2"/>
                    </a:lnTo>
                    <a:lnTo>
                      <a:pt x="75" y="0"/>
                    </a:lnTo>
                    <a:lnTo>
                      <a:pt x="75" y="0"/>
                    </a:lnTo>
                    <a:lnTo>
                      <a:pt x="67" y="2"/>
                    </a:lnTo>
                    <a:lnTo>
                      <a:pt x="60" y="5"/>
                    </a:lnTo>
                    <a:lnTo>
                      <a:pt x="57" y="12"/>
                    </a:lnTo>
                    <a:lnTo>
                      <a:pt x="55" y="20"/>
                    </a:lnTo>
                    <a:lnTo>
                      <a:pt x="55" y="143"/>
                    </a:lnTo>
                    <a:lnTo>
                      <a:pt x="55" y="143"/>
                    </a:lnTo>
                    <a:lnTo>
                      <a:pt x="43" y="148"/>
                    </a:lnTo>
                    <a:lnTo>
                      <a:pt x="33" y="153"/>
                    </a:lnTo>
                    <a:lnTo>
                      <a:pt x="23" y="162"/>
                    </a:lnTo>
                    <a:lnTo>
                      <a:pt x="15" y="170"/>
                    </a:lnTo>
                    <a:lnTo>
                      <a:pt x="8" y="180"/>
                    </a:lnTo>
                    <a:lnTo>
                      <a:pt x="5" y="192"/>
                    </a:lnTo>
                    <a:lnTo>
                      <a:pt x="2" y="203"/>
                    </a:lnTo>
                    <a:lnTo>
                      <a:pt x="0" y="215"/>
                    </a:lnTo>
                    <a:lnTo>
                      <a:pt x="0" y="215"/>
                    </a:lnTo>
                    <a:lnTo>
                      <a:pt x="2" y="228"/>
                    </a:lnTo>
                    <a:lnTo>
                      <a:pt x="5" y="240"/>
                    </a:lnTo>
                    <a:lnTo>
                      <a:pt x="8" y="251"/>
                    </a:lnTo>
                    <a:lnTo>
                      <a:pt x="15" y="261"/>
                    </a:lnTo>
                    <a:lnTo>
                      <a:pt x="23" y="270"/>
                    </a:lnTo>
                    <a:lnTo>
                      <a:pt x="33" y="276"/>
                    </a:lnTo>
                    <a:lnTo>
                      <a:pt x="43" y="283"/>
                    </a:lnTo>
                    <a:lnTo>
                      <a:pt x="55" y="286"/>
                    </a:lnTo>
                    <a:lnTo>
                      <a:pt x="55" y="318"/>
                    </a:lnTo>
                    <a:lnTo>
                      <a:pt x="55" y="318"/>
                    </a:lnTo>
                    <a:lnTo>
                      <a:pt x="57" y="326"/>
                    </a:lnTo>
                    <a:lnTo>
                      <a:pt x="60" y="333"/>
                    </a:lnTo>
                    <a:lnTo>
                      <a:pt x="67" y="336"/>
                    </a:lnTo>
                    <a:lnTo>
                      <a:pt x="75" y="338"/>
                    </a:lnTo>
                    <a:lnTo>
                      <a:pt x="75" y="338"/>
                    </a:lnTo>
                    <a:lnTo>
                      <a:pt x="83" y="336"/>
                    </a:lnTo>
                    <a:lnTo>
                      <a:pt x="90" y="333"/>
                    </a:lnTo>
                    <a:lnTo>
                      <a:pt x="93" y="326"/>
                    </a:lnTo>
                    <a:lnTo>
                      <a:pt x="95" y="318"/>
                    </a:lnTo>
                    <a:lnTo>
                      <a:pt x="95" y="286"/>
                    </a:lnTo>
                    <a:lnTo>
                      <a:pt x="95" y="286"/>
                    </a:lnTo>
                    <a:lnTo>
                      <a:pt x="107" y="283"/>
                    </a:lnTo>
                    <a:lnTo>
                      <a:pt x="117" y="276"/>
                    </a:lnTo>
                    <a:lnTo>
                      <a:pt x="127" y="270"/>
                    </a:lnTo>
                    <a:lnTo>
                      <a:pt x="133" y="261"/>
                    </a:lnTo>
                    <a:lnTo>
                      <a:pt x="140" y="251"/>
                    </a:lnTo>
                    <a:lnTo>
                      <a:pt x="145" y="240"/>
                    </a:lnTo>
                    <a:lnTo>
                      <a:pt x="148" y="228"/>
                    </a:lnTo>
                    <a:lnTo>
                      <a:pt x="150" y="215"/>
                    </a:lnTo>
                    <a:lnTo>
                      <a:pt x="150" y="215"/>
                    </a:lnTo>
                    <a:lnTo>
                      <a:pt x="148" y="203"/>
                    </a:lnTo>
                    <a:lnTo>
                      <a:pt x="145" y="192"/>
                    </a:lnTo>
                    <a:lnTo>
                      <a:pt x="140" y="180"/>
                    </a:lnTo>
                    <a:lnTo>
                      <a:pt x="133" y="170"/>
                    </a:lnTo>
                    <a:lnTo>
                      <a:pt x="127" y="162"/>
                    </a:lnTo>
                    <a:lnTo>
                      <a:pt x="117" y="153"/>
                    </a:lnTo>
                    <a:lnTo>
                      <a:pt x="107" y="148"/>
                    </a:lnTo>
                    <a:lnTo>
                      <a:pt x="95" y="143"/>
                    </a:lnTo>
                    <a:lnTo>
                      <a:pt x="95" y="143"/>
                    </a:lnTo>
                    <a:close/>
                    <a:moveTo>
                      <a:pt x="95" y="243"/>
                    </a:moveTo>
                    <a:lnTo>
                      <a:pt x="95" y="243"/>
                    </a:lnTo>
                    <a:lnTo>
                      <a:pt x="85" y="248"/>
                    </a:lnTo>
                    <a:lnTo>
                      <a:pt x="75" y="250"/>
                    </a:lnTo>
                    <a:lnTo>
                      <a:pt x="75" y="250"/>
                    </a:lnTo>
                    <a:lnTo>
                      <a:pt x="63" y="248"/>
                    </a:lnTo>
                    <a:lnTo>
                      <a:pt x="55" y="243"/>
                    </a:lnTo>
                    <a:lnTo>
                      <a:pt x="55" y="243"/>
                    </a:lnTo>
                    <a:lnTo>
                      <a:pt x="48" y="236"/>
                    </a:lnTo>
                    <a:lnTo>
                      <a:pt x="45" y="231"/>
                    </a:lnTo>
                    <a:lnTo>
                      <a:pt x="42" y="223"/>
                    </a:lnTo>
                    <a:lnTo>
                      <a:pt x="40" y="215"/>
                    </a:lnTo>
                    <a:lnTo>
                      <a:pt x="40" y="215"/>
                    </a:lnTo>
                    <a:lnTo>
                      <a:pt x="42" y="208"/>
                    </a:lnTo>
                    <a:lnTo>
                      <a:pt x="45" y="200"/>
                    </a:lnTo>
                    <a:lnTo>
                      <a:pt x="48" y="193"/>
                    </a:lnTo>
                    <a:lnTo>
                      <a:pt x="55" y="188"/>
                    </a:lnTo>
                    <a:lnTo>
                      <a:pt x="55" y="188"/>
                    </a:lnTo>
                    <a:lnTo>
                      <a:pt x="63" y="183"/>
                    </a:lnTo>
                    <a:lnTo>
                      <a:pt x="75" y="182"/>
                    </a:lnTo>
                    <a:lnTo>
                      <a:pt x="75" y="182"/>
                    </a:lnTo>
                    <a:lnTo>
                      <a:pt x="85" y="183"/>
                    </a:lnTo>
                    <a:lnTo>
                      <a:pt x="95" y="188"/>
                    </a:lnTo>
                    <a:lnTo>
                      <a:pt x="95" y="188"/>
                    </a:lnTo>
                    <a:lnTo>
                      <a:pt x="100" y="193"/>
                    </a:lnTo>
                    <a:lnTo>
                      <a:pt x="105" y="200"/>
                    </a:lnTo>
                    <a:lnTo>
                      <a:pt x="108" y="208"/>
                    </a:lnTo>
                    <a:lnTo>
                      <a:pt x="108" y="215"/>
                    </a:lnTo>
                    <a:lnTo>
                      <a:pt x="108" y="215"/>
                    </a:lnTo>
                    <a:lnTo>
                      <a:pt x="108" y="223"/>
                    </a:lnTo>
                    <a:lnTo>
                      <a:pt x="105" y="231"/>
                    </a:lnTo>
                    <a:lnTo>
                      <a:pt x="100" y="236"/>
                    </a:lnTo>
                    <a:lnTo>
                      <a:pt x="95" y="243"/>
                    </a:lnTo>
                    <a:lnTo>
                      <a:pt x="95" y="2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8DFB904-AD78-204B-8FA0-5764178A8871}"/>
              </a:ext>
            </a:extLst>
          </p:cNvPr>
          <p:cNvGrpSpPr/>
          <p:nvPr/>
        </p:nvGrpSpPr>
        <p:grpSpPr>
          <a:xfrm>
            <a:off x="3960837" y="2231975"/>
            <a:ext cx="3600400" cy="792088"/>
            <a:chOff x="4176861" y="2087959"/>
            <a:chExt cx="3600400" cy="792088"/>
          </a:xfrm>
        </p:grpSpPr>
        <p:sp>
          <p:nvSpPr>
            <p:cNvPr id="180" name="Rechteck 14">
              <a:extLst>
                <a:ext uri="{FF2B5EF4-FFF2-40B4-BE49-F238E27FC236}">
                  <a16:creationId xmlns:a16="http://schemas.microsoft.com/office/drawing/2014/main" id="{5B8C13CC-7EED-194D-AE74-DC344E92D6B7}"/>
                </a:ext>
              </a:extLst>
            </p:cNvPr>
            <p:cNvSpPr/>
            <p:nvPr/>
          </p:nvSpPr>
          <p:spPr bwMode="gray">
            <a:xfrm>
              <a:off x="4176861" y="2087959"/>
              <a:ext cx="3600400" cy="792088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l">
                <a:buClr>
                  <a:srgbClr val="9B9B9B"/>
                </a:buClr>
              </a:pPr>
              <a:r>
                <a:rPr lang="en-US" sz="3600" b="1" dirty="0"/>
                <a:t>7</a:t>
              </a:r>
              <a:r>
                <a:rPr lang="en-US" sz="1599" dirty="0"/>
                <a:t>  </a:t>
              </a:r>
              <a:r>
                <a:rPr lang="en-US" sz="2000" dirty="0">
                  <a:solidFill>
                    <a:schemeClr val="bg1"/>
                  </a:solidFill>
                </a:rPr>
                <a:t>Brands</a:t>
              </a:r>
              <a:endParaRPr lang="de-DE" sz="1599" kern="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E93A318A-862C-B643-8FDD-268F2D40397C}"/>
                </a:ext>
              </a:extLst>
            </p:cNvPr>
            <p:cNvGrpSpPr/>
            <p:nvPr/>
          </p:nvGrpSpPr>
          <p:grpSpPr>
            <a:xfrm>
              <a:off x="6514258" y="2231973"/>
              <a:ext cx="1215730" cy="578296"/>
              <a:chOff x="5556255" y="1264248"/>
              <a:chExt cx="398709" cy="310480"/>
            </a:xfrm>
            <a:solidFill>
              <a:schemeClr val="tx1"/>
            </a:solidFill>
          </p:grpSpPr>
          <p:sp>
            <p:nvSpPr>
              <p:cNvPr id="98" name="Freeform 143">
                <a:extLst>
                  <a:ext uri="{FF2B5EF4-FFF2-40B4-BE49-F238E27FC236}">
                    <a16:creationId xmlns:a16="http://schemas.microsoft.com/office/drawing/2014/main" id="{4F9BDB61-A36C-F247-A47F-3B3DE6ED41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41384" y="1267614"/>
                <a:ext cx="61423" cy="61423"/>
              </a:xfrm>
              <a:custGeom>
                <a:avLst/>
                <a:gdLst>
                  <a:gd name="T0" fmla="*/ 114 w 114"/>
                  <a:gd name="T1" fmla="*/ 113 h 113"/>
                  <a:gd name="T2" fmla="*/ 0 w 114"/>
                  <a:gd name="T3" fmla="*/ 113 h 113"/>
                  <a:gd name="T4" fmla="*/ 0 w 114"/>
                  <a:gd name="T5" fmla="*/ 0 h 113"/>
                  <a:gd name="T6" fmla="*/ 114 w 114"/>
                  <a:gd name="T7" fmla="*/ 0 h 113"/>
                  <a:gd name="T8" fmla="*/ 114 w 114"/>
                  <a:gd name="T9" fmla="*/ 113 h 113"/>
                  <a:gd name="T10" fmla="*/ 36 w 114"/>
                  <a:gd name="T11" fmla="*/ 78 h 113"/>
                  <a:gd name="T12" fmla="*/ 79 w 114"/>
                  <a:gd name="T13" fmla="*/ 78 h 113"/>
                  <a:gd name="T14" fmla="*/ 79 w 114"/>
                  <a:gd name="T15" fmla="*/ 35 h 113"/>
                  <a:gd name="T16" fmla="*/ 36 w 114"/>
                  <a:gd name="T17" fmla="*/ 35 h 113"/>
                  <a:gd name="T18" fmla="*/ 36 w 114"/>
                  <a:gd name="T19" fmla="*/ 78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4" h="113">
                    <a:moveTo>
                      <a:pt x="114" y="113"/>
                    </a:moveTo>
                    <a:lnTo>
                      <a:pt x="0" y="113"/>
                    </a:lnTo>
                    <a:lnTo>
                      <a:pt x="0" y="0"/>
                    </a:lnTo>
                    <a:lnTo>
                      <a:pt x="114" y="0"/>
                    </a:lnTo>
                    <a:lnTo>
                      <a:pt x="114" y="113"/>
                    </a:lnTo>
                    <a:close/>
                    <a:moveTo>
                      <a:pt x="36" y="78"/>
                    </a:moveTo>
                    <a:lnTo>
                      <a:pt x="79" y="78"/>
                    </a:lnTo>
                    <a:lnTo>
                      <a:pt x="79" y="35"/>
                    </a:lnTo>
                    <a:lnTo>
                      <a:pt x="36" y="35"/>
                    </a:lnTo>
                    <a:lnTo>
                      <a:pt x="36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9" name="Freeform 144">
                <a:extLst>
                  <a:ext uri="{FF2B5EF4-FFF2-40B4-BE49-F238E27FC236}">
                    <a16:creationId xmlns:a16="http://schemas.microsoft.com/office/drawing/2014/main" id="{42558D67-2FA7-A841-BDC7-1C456D87B2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41384" y="1345201"/>
                <a:ext cx="61423" cy="62500"/>
              </a:xfrm>
              <a:custGeom>
                <a:avLst/>
                <a:gdLst>
                  <a:gd name="T0" fmla="*/ 116 w 116"/>
                  <a:gd name="T1" fmla="*/ 116 h 116"/>
                  <a:gd name="T2" fmla="*/ 0 w 116"/>
                  <a:gd name="T3" fmla="*/ 116 h 116"/>
                  <a:gd name="T4" fmla="*/ 0 w 116"/>
                  <a:gd name="T5" fmla="*/ 0 h 116"/>
                  <a:gd name="T6" fmla="*/ 116 w 116"/>
                  <a:gd name="T7" fmla="*/ 0 h 116"/>
                  <a:gd name="T8" fmla="*/ 116 w 116"/>
                  <a:gd name="T9" fmla="*/ 116 h 116"/>
                  <a:gd name="T10" fmla="*/ 36 w 116"/>
                  <a:gd name="T11" fmla="*/ 81 h 116"/>
                  <a:gd name="T12" fmla="*/ 81 w 116"/>
                  <a:gd name="T13" fmla="*/ 81 h 116"/>
                  <a:gd name="T14" fmla="*/ 81 w 116"/>
                  <a:gd name="T15" fmla="*/ 36 h 116"/>
                  <a:gd name="T16" fmla="*/ 36 w 116"/>
                  <a:gd name="T17" fmla="*/ 36 h 116"/>
                  <a:gd name="T18" fmla="*/ 36 w 116"/>
                  <a:gd name="T19" fmla="*/ 81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6" h="116">
                    <a:moveTo>
                      <a:pt x="116" y="116"/>
                    </a:moveTo>
                    <a:lnTo>
                      <a:pt x="0" y="116"/>
                    </a:lnTo>
                    <a:lnTo>
                      <a:pt x="0" y="0"/>
                    </a:lnTo>
                    <a:lnTo>
                      <a:pt x="116" y="0"/>
                    </a:lnTo>
                    <a:lnTo>
                      <a:pt x="116" y="116"/>
                    </a:lnTo>
                    <a:close/>
                    <a:moveTo>
                      <a:pt x="36" y="81"/>
                    </a:moveTo>
                    <a:lnTo>
                      <a:pt x="81" y="81"/>
                    </a:lnTo>
                    <a:lnTo>
                      <a:pt x="81" y="36"/>
                    </a:lnTo>
                    <a:lnTo>
                      <a:pt x="36" y="36"/>
                    </a:lnTo>
                    <a:lnTo>
                      <a:pt x="36" y="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0" name="Freeform 145">
                <a:extLst>
                  <a:ext uri="{FF2B5EF4-FFF2-40B4-BE49-F238E27FC236}">
                    <a16:creationId xmlns:a16="http://schemas.microsoft.com/office/drawing/2014/main" id="{53375D70-71D5-0744-AE3E-84E7C7CDE5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21126" y="1267614"/>
                <a:ext cx="62500" cy="61423"/>
              </a:xfrm>
              <a:custGeom>
                <a:avLst/>
                <a:gdLst>
                  <a:gd name="T0" fmla="*/ 116 w 116"/>
                  <a:gd name="T1" fmla="*/ 113 h 113"/>
                  <a:gd name="T2" fmla="*/ 0 w 116"/>
                  <a:gd name="T3" fmla="*/ 113 h 113"/>
                  <a:gd name="T4" fmla="*/ 0 w 116"/>
                  <a:gd name="T5" fmla="*/ 0 h 113"/>
                  <a:gd name="T6" fmla="*/ 116 w 116"/>
                  <a:gd name="T7" fmla="*/ 0 h 113"/>
                  <a:gd name="T8" fmla="*/ 116 w 116"/>
                  <a:gd name="T9" fmla="*/ 113 h 113"/>
                  <a:gd name="T10" fmla="*/ 35 w 116"/>
                  <a:gd name="T11" fmla="*/ 78 h 113"/>
                  <a:gd name="T12" fmla="*/ 80 w 116"/>
                  <a:gd name="T13" fmla="*/ 78 h 113"/>
                  <a:gd name="T14" fmla="*/ 80 w 116"/>
                  <a:gd name="T15" fmla="*/ 35 h 113"/>
                  <a:gd name="T16" fmla="*/ 35 w 116"/>
                  <a:gd name="T17" fmla="*/ 35 h 113"/>
                  <a:gd name="T18" fmla="*/ 35 w 116"/>
                  <a:gd name="T19" fmla="*/ 78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6" h="113">
                    <a:moveTo>
                      <a:pt x="116" y="113"/>
                    </a:moveTo>
                    <a:lnTo>
                      <a:pt x="0" y="113"/>
                    </a:lnTo>
                    <a:lnTo>
                      <a:pt x="0" y="0"/>
                    </a:lnTo>
                    <a:lnTo>
                      <a:pt x="116" y="0"/>
                    </a:lnTo>
                    <a:lnTo>
                      <a:pt x="116" y="113"/>
                    </a:lnTo>
                    <a:close/>
                    <a:moveTo>
                      <a:pt x="35" y="78"/>
                    </a:moveTo>
                    <a:lnTo>
                      <a:pt x="80" y="78"/>
                    </a:lnTo>
                    <a:lnTo>
                      <a:pt x="80" y="35"/>
                    </a:lnTo>
                    <a:lnTo>
                      <a:pt x="35" y="35"/>
                    </a:lnTo>
                    <a:lnTo>
                      <a:pt x="35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1" name="Freeform 146">
                <a:extLst>
                  <a:ext uri="{FF2B5EF4-FFF2-40B4-BE49-F238E27FC236}">
                    <a16:creationId xmlns:a16="http://schemas.microsoft.com/office/drawing/2014/main" id="{66F36C2C-9109-154A-B992-64DA32932D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0868" y="1267614"/>
                <a:ext cx="61423" cy="51724"/>
              </a:xfrm>
              <a:custGeom>
                <a:avLst/>
                <a:gdLst>
                  <a:gd name="T0" fmla="*/ 35 w 116"/>
                  <a:gd name="T1" fmla="*/ 35 h 95"/>
                  <a:gd name="T2" fmla="*/ 81 w 116"/>
                  <a:gd name="T3" fmla="*/ 35 h 95"/>
                  <a:gd name="T4" fmla="*/ 81 w 116"/>
                  <a:gd name="T5" fmla="*/ 75 h 95"/>
                  <a:gd name="T6" fmla="*/ 81 w 116"/>
                  <a:gd name="T7" fmla="*/ 75 h 95"/>
                  <a:gd name="T8" fmla="*/ 91 w 116"/>
                  <a:gd name="T9" fmla="*/ 78 h 95"/>
                  <a:gd name="T10" fmla="*/ 99 w 116"/>
                  <a:gd name="T11" fmla="*/ 83 h 95"/>
                  <a:gd name="T12" fmla="*/ 107 w 116"/>
                  <a:gd name="T13" fmla="*/ 88 h 95"/>
                  <a:gd name="T14" fmla="*/ 116 w 116"/>
                  <a:gd name="T15" fmla="*/ 95 h 95"/>
                  <a:gd name="T16" fmla="*/ 116 w 116"/>
                  <a:gd name="T17" fmla="*/ 0 h 95"/>
                  <a:gd name="T18" fmla="*/ 0 w 116"/>
                  <a:gd name="T19" fmla="*/ 0 h 95"/>
                  <a:gd name="T20" fmla="*/ 0 w 116"/>
                  <a:gd name="T21" fmla="*/ 87 h 95"/>
                  <a:gd name="T22" fmla="*/ 0 w 116"/>
                  <a:gd name="T23" fmla="*/ 87 h 95"/>
                  <a:gd name="T24" fmla="*/ 17 w 116"/>
                  <a:gd name="T25" fmla="*/ 77 h 95"/>
                  <a:gd name="T26" fmla="*/ 27 w 116"/>
                  <a:gd name="T27" fmla="*/ 75 h 95"/>
                  <a:gd name="T28" fmla="*/ 35 w 116"/>
                  <a:gd name="T29" fmla="*/ 72 h 95"/>
                  <a:gd name="T30" fmla="*/ 35 w 116"/>
                  <a:gd name="T31" fmla="*/ 3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6" h="95">
                    <a:moveTo>
                      <a:pt x="35" y="35"/>
                    </a:moveTo>
                    <a:lnTo>
                      <a:pt x="81" y="35"/>
                    </a:lnTo>
                    <a:lnTo>
                      <a:pt x="81" y="75"/>
                    </a:lnTo>
                    <a:lnTo>
                      <a:pt x="81" y="75"/>
                    </a:lnTo>
                    <a:lnTo>
                      <a:pt x="91" y="78"/>
                    </a:lnTo>
                    <a:lnTo>
                      <a:pt x="99" y="83"/>
                    </a:lnTo>
                    <a:lnTo>
                      <a:pt x="107" y="88"/>
                    </a:lnTo>
                    <a:lnTo>
                      <a:pt x="116" y="95"/>
                    </a:lnTo>
                    <a:lnTo>
                      <a:pt x="116" y="0"/>
                    </a:lnTo>
                    <a:lnTo>
                      <a:pt x="0" y="0"/>
                    </a:lnTo>
                    <a:lnTo>
                      <a:pt x="0" y="87"/>
                    </a:lnTo>
                    <a:lnTo>
                      <a:pt x="0" y="87"/>
                    </a:lnTo>
                    <a:lnTo>
                      <a:pt x="17" y="77"/>
                    </a:lnTo>
                    <a:lnTo>
                      <a:pt x="27" y="75"/>
                    </a:lnTo>
                    <a:lnTo>
                      <a:pt x="35" y="72"/>
                    </a:lnTo>
                    <a:lnTo>
                      <a:pt x="3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2" name="Freeform 147">
                <a:extLst>
                  <a:ext uri="{FF2B5EF4-FFF2-40B4-BE49-F238E27FC236}">
                    <a16:creationId xmlns:a16="http://schemas.microsoft.com/office/drawing/2014/main" id="{E425D7DD-776D-CA45-9312-B52DF75394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6255" y="1355977"/>
                <a:ext cx="26940" cy="26940"/>
              </a:xfrm>
              <a:custGeom>
                <a:avLst/>
                <a:gdLst>
                  <a:gd name="T0" fmla="*/ 25 w 50"/>
                  <a:gd name="T1" fmla="*/ 0 h 51"/>
                  <a:gd name="T2" fmla="*/ 25 w 50"/>
                  <a:gd name="T3" fmla="*/ 0 h 51"/>
                  <a:gd name="T4" fmla="*/ 20 w 50"/>
                  <a:gd name="T5" fmla="*/ 0 h 51"/>
                  <a:gd name="T6" fmla="*/ 15 w 50"/>
                  <a:gd name="T7" fmla="*/ 2 h 51"/>
                  <a:gd name="T8" fmla="*/ 9 w 50"/>
                  <a:gd name="T9" fmla="*/ 7 h 51"/>
                  <a:gd name="T10" fmla="*/ 2 w 50"/>
                  <a:gd name="T11" fmla="*/ 16 h 51"/>
                  <a:gd name="T12" fmla="*/ 2 w 50"/>
                  <a:gd name="T13" fmla="*/ 21 h 51"/>
                  <a:gd name="T14" fmla="*/ 0 w 50"/>
                  <a:gd name="T15" fmla="*/ 26 h 51"/>
                  <a:gd name="T16" fmla="*/ 0 w 50"/>
                  <a:gd name="T17" fmla="*/ 26 h 51"/>
                  <a:gd name="T18" fmla="*/ 2 w 50"/>
                  <a:gd name="T19" fmla="*/ 31 h 51"/>
                  <a:gd name="T20" fmla="*/ 2 w 50"/>
                  <a:gd name="T21" fmla="*/ 36 h 51"/>
                  <a:gd name="T22" fmla="*/ 9 w 50"/>
                  <a:gd name="T23" fmla="*/ 42 h 51"/>
                  <a:gd name="T24" fmla="*/ 15 w 50"/>
                  <a:gd name="T25" fmla="*/ 47 h 51"/>
                  <a:gd name="T26" fmla="*/ 20 w 50"/>
                  <a:gd name="T27" fmla="*/ 49 h 51"/>
                  <a:gd name="T28" fmla="*/ 25 w 50"/>
                  <a:gd name="T29" fmla="*/ 51 h 51"/>
                  <a:gd name="T30" fmla="*/ 25 w 50"/>
                  <a:gd name="T31" fmla="*/ 51 h 51"/>
                  <a:gd name="T32" fmla="*/ 30 w 50"/>
                  <a:gd name="T33" fmla="*/ 49 h 51"/>
                  <a:gd name="T34" fmla="*/ 35 w 50"/>
                  <a:gd name="T35" fmla="*/ 47 h 51"/>
                  <a:gd name="T36" fmla="*/ 42 w 50"/>
                  <a:gd name="T37" fmla="*/ 42 h 51"/>
                  <a:gd name="T38" fmla="*/ 49 w 50"/>
                  <a:gd name="T39" fmla="*/ 36 h 51"/>
                  <a:gd name="T40" fmla="*/ 49 w 50"/>
                  <a:gd name="T41" fmla="*/ 31 h 51"/>
                  <a:gd name="T42" fmla="*/ 50 w 50"/>
                  <a:gd name="T43" fmla="*/ 26 h 51"/>
                  <a:gd name="T44" fmla="*/ 50 w 50"/>
                  <a:gd name="T45" fmla="*/ 26 h 51"/>
                  <a:gd name="T46" fmla="*/ 49 w 50"/>
                  <a:gd name="T47" fmla="*/ 21 h 51"/>
                  <a:gd name="T48" fmla="*/ 49 w 50"/>
                  <a:gd name="T49" fmla="*/ 16 h 51"/>
                  <a:gd name="T50" fmla="*/ 42 w 50"/>
                  <a:gd name="T51" fmla="*/ 7 h 51"/>
                  <a:gd name="T52" fmla="*/ 35 w 50"/>
                  <a:gd name="T53" fmla="*/ 2 h 51"/>
                  <a:gd name="T54" fmla="*/ 30 w 50"/>
                  <a:gd name="T55" fmla="*/ 0 h 51"/>
                  <a:gd name="T56" fmla="*/ 25 w 50"/>
                  <a:gd name="T57" fmla="*/ 0 h 51"/>
                  <a:gd name="T58" fmla="*/ 25 w 50"/>
                  <a:gd name="T59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0" h="51">
                    <a:moveTo>
                      <a:pt x="25" y="0"/>
                    </a:moveTo>
                    <a:lnTo>
                      <a:pt x="25" y="0"/>
                    </a:lnTo>
                    <a:lnTo>
                      <a:pt x="20" y="0"/>
                    </a:lnTo>
                    <a:lnTo>
                      <a:pt x="15" y="2"/>
                    </a:lnTo>
                    <a:lnTo>
                      <a:pt x="9" y="7"/>
                    </a:lnTo>
                    <a:lnTo>
                      <a:pt x="2" y="16"/>
                    </a:lnTo>
                    <a:lnTo>
                      <a:pt x="2" y="21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2" y="31"/>
                    </a:lnTo>
                    <a:lnTo>
                      <a:pt x="2" y="36"/>
                    </a:lnTo>
                    <a:lnTo>
                      <a:pt x="9" y="42"/>
                    </a:lnTo>
                    <a:lnTo>
                      <a:pt x="15" y="47"/>
                    </a:lnTo>
                    <a:lnTo>
                      <a:pt x="20" y="49"/>
                    </a:lnTo>
                    <a:lnTo>
                      <a:pt x="25" y="51"/>
                    </a:lnTo>
                    <a:lnTo>
                      <a:pt x="25" y="51"/>
                    </a:lnTo>
                    <a:lnTo>
                      <a:pt x="30" y="49"/>
                    </a:lnTo>
                    <a:lnTo>
                      <a:pt x="35" y="47"/>
                    </a:lnTo>
                    <a:lnTo>
                      <a:pt x="42" y="42"/>
                    </a:lnTo>
                    <a:lnTo>
                      <a:pt x="49" y="36"/>
                    </a:lnTo>
                    <a:lnTo>
                      <a:pt x="49" y="31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9" y="21"/>
                    </a:lnTo>
                    <a:lnTo>
                      <a:pt x="49" y="16"/>
                    </a:lnTo>
                    <a:lnTo>
                      <a:pt x="42" y="7"/>
                    </a:lnTo>
                    <a:lnTo>
                      <a:pt x="35" y="2"/>
                    </a:lnTo>
                    <a:lnTo>
                      <a:pt x="30" y="0"/>
                    </a:lnTo>
                    <a:lnTo>
                      <a:pt x="25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3" name="Freeform 148">
                <a:extLst>
                  <a:ext uri="{FF2B5EF4-FFF2-40B4-BE49-F238E27FC236}">
                    <a16:creationId xmlns:a16="http://schemas.microsoft.com/office/drawing/2014/main" id="{871E833D-249E-3D40-9CC9-7DF0498ED8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69003" y="1264248"/>
                <a:ext cx="338547" cy="250135"/>
              </a:xfrm>
              <a:custGeom>
                <a:avLst/>
                <a:gdLst>
                  <a:gd name="T0" fmla="*/ 179 w 717"/>
                  <a:gd name="T1" fmla="*/ 495 h 535"/>
                  <a:gd name="T2" fmla="*/ 179 w 717"/>
                  <a:gd name="T3" fmla="*/ 40 h 535"/>
                  <a:gd name="T4" fmla="*/ 659 w 717"/>
                  <a:gd name="T5" fmla="*/ 40 h 535"/>
                  <a:gd name="T6" fmla="*/ 659 w 717"/>
                  <a:gd name="T7" fmla="*/ 40 h 535"/>
                  <a:gd name="T8" fmla="*/ 665 w 717"/>
                  <a:gd name="T9" fmla="*/ 42 h 535"/>
                  <a:gd name="T10" fmla="*/ 670 w 717"/>
                  <a:gd name="T11" fmla="*/ 45 h 535"/>
                  <a:gd name="T12" fmla="*/ 675 w 717"/>
                  <a:gd name="T13" fmla="*/ 50 h 535"/>
                  <a:gd name="T14" fmla="*/ 677 w 717"/>
                  <a:gd name="T15" fmla="*/ 57 h 535"/>
                  <a:gd name="T16" fmla="*/ 677 w 717"/>
                  <a:gd name="T17" fmla="*/ 333 h 535"/>
                  <a:gd name="T18" fmla="*/ 717 w 717"/>
                  <a:gd name="T19" fmla="*/ 338 h 535"/>
                  <a:gd name="T20" fmla="*/ 717 w 717"/>
                  <a:gd name="T21" fmla="*/ 57 h 535"/>
                  <a:gd name="T22" fmla="*/ 717 w 717"/>
                  <a:gd name="T23" fmla="*/ 57 h 535"/>
                  <a:gd name="T24" fmla="*/ 716 w 717"/>
                  <a:gd name="T25" fmla="*/ 45 h 535"/>
                  <a:gd name="T26" fmla="*/ 712 w 717"/>
                  <a:gd name="T27" fmla="*/ 35 h 535"/>
                  <a:gd name="T28" fmla="*/ 707 w 717"/>
                  <a:gd name="T29" fmla="*/ 25 h 535"/>
                  <a:gd name="T30" fmla="*/ 701 w 717"/>
                  <a:gd name="T31" fmla="*/ 17 h 535"/>
                  <a:gd name="T32" fmla="*/ 692 w 717"/>
                  <a:gd name="T33" fmla="*/ 10 h 535"/>
                  <a:gd name="T34" fmla="*/ 682 w 717"/>
                  <a:gd name="T35" fmla="*/ 3 h 535"/>
                  <a:gd name="T36" fmla="*/ 670 w 717"/>
                  <a:gd name="T37" fmla="*/ 0 h 535"/>
                  <a:gd name="T38" fmla="*/ 659 w 717"/>
                  <a:gd name="T39" fmla="*/ 0 h 535"/>
                  <a:gd name="T40" fmla="*/ 59 w 717"/>
                  <a:gd name="T41" fmla="*/ 0 h 535"/>
                  <a:gd name="T42" fmla="*/ 59 w 717"/>
                  <a:gd name="T43" fmla="*/ 0 h 535"/>
                  <a:gd name="T44" fmla="*/ 47 w 717"/>
                  <a:gd name="T45" fmla="*/ 0 h 535"/>
                  <a:gd name="T46" fmla="*/ 35 w 717"/>
                  <a:gd name="T47" fmla="*/ 3 h 535"/>
                  <a:gd name="T48" fmla="*/ 25 w 717"/>
                  <a:gd name="T49" fmla="*/ 10 h 535"/>
                  <a:gd name="T50" fmla="*/ 17 w 717"/>
                  <a:gd name="T51" fmla="*/ 17 h 535"/>
                  <a:gd name="T52" fmla="*/ 10 w 717"/>
                  <a:gd name="T53" fmla="*/ 25 h 535"/>
                  <a:gd name="T54" fmla="*/ 3 w 717"/>
                  <a:gd name="T55" fmla="*/ 35 h 535"/>
                  <a:gd name="T56" fmla="*/ 0 w 717"/>
                  <a:gd name="T57" fmla="*/ 45 h 535"/>
                  <a:gd name="T58" fmla="*/ 0 w 717"/>
                  <a:gd name="T59" fmla="*/ 57 h 535"/>
                  <a:gd name="T60" fmla="*/ 0 w 717"/>
                  <a:gd name="T61" fmla="*/ 477 h 535"/>
                  <a:gd name="T62" fmla="*/ 0 w 717"/>
                  <a:gd name="T63" fmla="*/ 477 h 535"/>
                  <a:gd name="T64" fmla="*/ 0 w 717"/>
                  <a:gd name="T65" fmla="*/ 488 h 535"/>
                  <a:gd name="T66" fmla="*/ 3 w 717"/>
                  <a:gd name="T67" fmla="*/ 500 h 535"/>
                  <a:gd name="T68" fmla="*/ 10 w 717"/>
                  <a:gd name="T69" fmla="*/ 510 h 535"/>
                  <a:gd name="T70" fmla="*/ 17 w 717"/>
                  <a:gd name="T71" fmla="*/ 518 h 535"/>
                  <a:gd name="T72" fmla="*/ 25 w 717"/>
                  <a:gd name="T73" fmla="*/ 525 h 535"/>
                  <a:gd name="T74" fmla="*/ 35 w 717"/>
                  <a:gd name="T75" fmla="*/ 530 h 535"/>
                  <a:gd name="T76" fmla="*/ 47 w 717"/>
                  <a:gd name="T77" fmla="*/ 533 h 535"/>
                  <a:gd name="T78" fmla="*/ 59 w 717"/>
                  <a:gd name="T79" fmla="*/ 535 h 535"/>
                  <a:gd name="T80" fmla="*/ 395 w 717"/>
                  <a:gd name="T81" fmla="*/ 535 h 535"/>
                  <a:gd name="T82" fmla="*/ 361 w 717"/>
                  <a:gd name="T83" fmla="*/ 495 h 535"/>
                  <a:gd name="T84" fmla="*/ 179 w 717"/>
                  <a:gd name="T85" fmla="*/ 495 h 535"/>
                  <a:gd name="T86" fmla="*/ 40 w 717"/>
                  <a:gd name="T87" fmla="*/ 477 h 535"/>
                  <a:gd name="T88" fmla="*/ 40 w 717"/>
                  <a:gd name="T89" fmla="*/ 57 h 535"/>
                  <a:gd name="T90" fmla="*/ 40 w 717"/>
                  <a:gd name="T91" fmla="*/ 57 h 535"/>
                  <a:gd name="T92" fmla="*/ 42 w 717"/>
                  <a:gd name="T93" fmla="*/ 50 h 535"/>
                  <a:gd name="T94" fmla="*/ 45 w 717"/>
                  <a:gd name="T95" fmla="*/ 45 h 535"/>
                  <a:gd name="T96" fmla="*/ 52 w 717"/>
                  <a:gd name="T97" fmla="*/ 42 h 535"/>
                  <a:gd name="T98" fmla="*/ 59 w 717"/>
                  <a:gd name="T99" fmla="*/ 40 h 535"/>
                  <a:gd name="T100" fmla="*/ 139 w 717"/>
                  <a:gd name="T101" fmla="*/ 40 h 535"/>
                  <a:gd name="T102" fmla="*/ 139 w 717"/>
                  <a:gd name="T103" fmla="*/ 495 h 535"/>
                  <a:gd name="T104" fmla="*/ 59 w 717"/>
                  <a:gd name="T105" fmla="*/ 495 h 535"/>
                  <a:gd name="T106" fmla="*/ 59 w 717"/>
                  <a:gd name="T107" fmla="*/ 495 h 535"/>
                  <a:gd name="T108" fmla="*/ 52 w 717"/>
                  <a:gd name="T109" fmla="*/ 493 h 535"/>
                  <a:gd name="T110" fmla="*/ 45 w 717"/>
                  <a:gd name="T111" fmla="*/ 490 h 535"/>
                  <a:gd name="T112" fmla="*/ 42 w 717"/>
                  <a:gd name="T113" fmla="*/ 483 h 535"/>
                  <a:gd name="T114" fmla="*/ 40 w 717"/>
                  <a:gd name="T115" fmla="*/ 477 h 535"/>
                  <a:gd name="T116" fmla="*/ 40 w 717"/>
                  <a:gd name="T117" fmla="*/ 477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17" h="535">
                    <a:moveTo>
                      <a:pt x="179" y="495"/>
                    </a:moveTo>
                    <a:lnTo>
                      <a:pt x="179" y="40"/>
                    </a:lnTo>
                    <a:lnTo>
                      <a:pt x="659" y="40"/>
                    </a:lnTo>
                    <a:lnTo>
                      <a:pt x="659" y="40"/>
                    </a:lnTo>
                    <a:lnTo>
                      <a:pt x="665" y="42"/>
                    </a:lnTo>
                    <a:lnTo>
                      <a:pt x="670" y="45"/>
                    </a:lnTo>
                    <a:lnTo>
                      <a:pt x="675" y="50"/>
                    </a:lnTo>
                    <a:lnTo>
                      <a:pt x="677" y="57"/>
                    </a:lnTo>
                    <a:lnTo>
                      <a:pt x="677" y="333"/>
                    </a:lnTo>
                    <a:lnTo>
                      <a:pt x="717" y="338"/>
                    </a:lnTo>
                    <a:lnTo>
                      <a:pt x="717" y="57"/>
                    </a:lnTo>
                    <a:lnTo>
                      <a:pt x="717" y="57"/>
                    </a:lnTo>
                    <a:lnTo>
                      <a:pt x="716" y="45"/>
                    </a:lnTo>
                    <a:lnTo>
                      <a:pt x="712" y="35"/>
                    </a:lnTo>
                    <a:lnTo>
                      <a:pt x="707" y="25"/>
                    </a:lnTo>
                    <a:lnTo>
                      <a:pt x="701" y="17"/>
                    </a:lnTo>
                    <a:lnTo>
                      <a:pt x="692" y="10"/>
                    </a:lnTo>
                    <a:lnTo>
                      <a:pt x="682" y="3"/>
                    </a:lnTo>
                    <a:lnTo>
                      <a:pt x="670" y="0"/>
                    </a:lnTo>
                    <a:lnTo>
                      <a:pt x="659" y="0"/>
                    </a:lnTo>
                    <a:lnTo>
                      <a:pt x="59" y="0"/>
                    </a:lnTo>
                    <a:lnTo>
                      <a:pt x="59" y="0"/>
                    </a:lnTo>
                    <a:lnTo>
                      <a:pt x="47" y="0"/>
                    </a:lnTo>
                    <a:lnTo>
                      <a:pt x="35" y="3"/>
                    </a:lnTo>
                    <a:lnTo>
                      <a:pt x="25" y="10"/>
                    </a:lnTo>
                    <a:lnTo>
                      <a:pt x="17" y="17"/>
                    </a:lnTo>
                    <a:lnTo>
                      <a:pt x="10" y="25"/>
                    </a:lnTo>
                    <a:lnTo>
                      <a:pt x="3" y="35"/>
                    </a:lnTo>
                    <a:lnTo>
                      <a:pt x="0" y="45"/>
                    </a:lnTo>
                    <a:lnTo>
                      <a:pt x="0" y="57"/>
                    </a:lnTo>
                    <a:lnTo>
                      <a:pt x="0" y="477"/>
                    </a:lnTo>
                    <a:lnTo>
                      <a:pt x="0" y="477"/>
                    </a:lnTo>
                    <a:lnTo>
                      <a:pt x="0" y="488"/>
                    </a:lnTo>
                    <a:lnTo>
                      <a:pt x="3" y="500"/>
                    </a:lnTo>
                    <a:lnTo>
                      <a:pt x="10" y="510"/>
                    </a:lnTo>
                    <a:lnTo>
                      <a:pt x="17" y="518"/>
                    </a:lnTo>
                    <a:lnTo>
                      <a:pt x="25" y="525"/>
                    </a:lnTo>
                    <a:lnTo>
                      <a:pt x="35" y="530"/>
                    </a:lnTo>
                    <a:lnTo>
                      <a:pt x="47" y="533"/>
                    </a:lnTo>
                    <a:lnTo>
                      <a:pt x="59" y="535"/>
                    </a:lnTo>
                    <a:lnTo>
                      <a:pt x="395" y="535"/>
                    </a:lnTo>
                    <a:lnTo>
                      <a:pt x="361" y="495"/>
                    </a:lnTo>
                    <a:lnTo>
                      <a:pt x="179" y="495"/>
                    </a:lnTo>
                    <a:close/>
                    <a:moveTo>
                      <a:pt x="40" y="477"/>
                    </a:moveTo>
                    <a:lnTo>
                      <a:pt x="40" y="57"/>
                    </a:lnTo>
                    <a:lnTo>
                      <a:pt x="40" y="57"/>
                    </a:lnTo>
                    <a:lnTo>
                      <a:pt x="42" y="50"/>
                    </a:lnTo>
                    <a:lnTo>
                      <a:pt x="45" y="45"/>
                    </a:lnTo>
                    <a:lnTo>
                      <a:pt x="52" y="42"/>
                    </a:lnTo>
                    <a:lnTo>
                      <a:pt x="59" y="40"/>
                    </a:lnTo>
                    <a:lnTo>
                      <a:pt x="139" y="40"/>
                    </a:lnTo>
                    <a:lnTo>
                      <a:pt x="139" y="495"/>
                    </a:lnTo>
                    <a:lnTo>
                      <a:pt x="59" y="495"/>
                    </a:lnTo>
                    <a:lnTo>
                      <a:pt x="59" y="495"/>
                    </a:lnTo>
                    <a:lnTo>
                      <a:pt x="52" y="493"/>
                    </a:lnTo>
                    <a:lnTo>
                      <a:pt x="45" y="490"/>
                    </a:lnTo>
                    <a:lnTo>
                      <a:pt x="42" y="483"/>
                    </a:lnTo>
                    <a:lnTo>
                      <a:pt x="40" y="477"/>
                    </a:lnTo>
                    <a:lnTo>
                      <a:pt x="40" y="47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4" name="Freeform 149">
                <a:extLst>
                  <a:ext uri="{FF2B5EF4-FFF2-40B4-BE49-F238E27FC236}">
                    <a16:creationId xmlns:a16="http://schemas.microsoft.com/office/drawing/2014/main" id="{E296D08E-DDF9-FC46-8716-4ADE96141D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9747" y="1325804"/>
                <a:ext cx="225217" cy="248924"/>
              </a:xfrm>
              <a:custGeom>
                <a:avLst/>
                <a:gdLst>
                  <a:gd name="T0" fmla="*/ 241 w 420"/>
                  <a:gd name="T1" fmla="*/ 55 h 461"/>
                  <a:gd name="T2" fmla="*/ 238 w 420"/>
                  <a:gd name="T3" fmla="*/ 33 h 461"/>
                  <a:gd name="T4" fmla="*/ 218 w 420"/>
                  <a:gd name="T5" fmla="*/ 8 h 461"/>
                  <a:gd name="T6" fmla="*/ 186 w 420"/>
                  <a:gd name="T7" fmla="*/ 0 h 461"/>
                  <a:gd name="T8" fmla="*/ 172 w 420"/>
                  <a:gd name="T9" fmla="*/ 0 h 461"/>
                  <a:gd name="T10" fmla="*/ 144 w 420"/>
                  <a:gd name="T11" fmla="*/ 15 h 461"/>
                  <a:gd name="T12" fmla="*/ 129 w 420"/>
                  <a:gd name="T13" fmla="*/ 43 h 461"/>
                  <a:gd name="T14" fmla="*/ 99 w 420"/>
                  <a:gd name="T15" fmla="*/ 232 h 461"/>
                  <a:gd name="T16" fmla="*/ 80 w 420"/>
                  <a:gd name="T17" fmla="*/ 220 h 461"/>
                  <a:gd name="T18" fmla="*/ 59 w 420"/>
                  <a:gd name="T19" fmla="*/ 215 h 461"/>
                  <a:gd name="T20" fmla="*/ 29 w 420"/>
                  <a:gd name="T21" fmla="*/ 225 h 461"/>
                  <a:gd name="T22" fmla="*/ 17 w 420"/>
                  <a:gd name="T23" fmla="*/ 235 h 461"/>
                  <a:gd name="T24" fmla="*/ 2 w 420"/>
                  <a:gd name="T25" fmla="*/ 264 h 461"/>
                  <a:gd name="T26" fmla="*/ 4 w 420"/>
                  <a:gd name="T27" fmla="*/ 296 h 461"/>
                  <a:gd name="T28" fmla="*/ 157 w 420"/>
                  <a:gd name="T29" fmla="*/ 454 h 461"/>
                  <a:gd name="T30" fmla="*/ 172 w 420"/>
                  <a:gd name="T31" fmla="*/ 461 h 461"/>
                  <a:gd name="T32" fmla="*/ 186 w 420"/>
                  <a:gd name="T33" fmla="*/ 454 h 461"/>
                  <a:gd name="T34" fmla="*/ 192 w 420"/>
                  <a:gd name="T35" fmla="*/ 441 h 461"/>
                  <a:gd name="T36" fmla="*/ 45 w 420"/>
                  <a:gd name="T37" fmla="*/ 286 h 461"/>
                  <a:gd name="T38" fmla="*/ 40 w 420"/>
                  <a:gd name="T39" fmla="*/ 274 h 461"/>
                  <a:gd name="T40" fmla="*/ 49 w 420"/>
                  <a:gd name="T41" fmla="*/ 260 h 461"/>
                  <a:gd name="T42" fmla="*/ 59 w 420"/>
                  <a:gd name="T43" fmla="*/ 255 h 461"/>
                  <a:gd name="T44" fmla="*/ 70 w 420"/>
                  <a:gd name="T45" fmla="*/ 260 h 461"/>
                  <a:gd name="T46" fmla="*/ 122 w 420"/>
                  <a:gd name="T47" fmla="*/ 312 h 461"/>
                  <a:gd name="T48" fmla="*/ 134 w 420"/>
                  <a:gd name="T49" fmla="*/ 316 h 461"/>
                  <a:gd name="T50" fmla="*/ 146 w 420"/>
                  <a:gd name="T51" fmla="*/ 316 h 461"/>
                  <a:gd name="T52" fmla="*/ 161 w 420"/>
                  <a:gd name="T53" fmla="*/ 304 h 461"/>
                  <a:gd name="T54" fmla="*/ 167 w 420"/>
                  <a:gd name="T55" fmla="*/ 289 h 461"/>
                  <a:gd name="T56" fmla="*/ 169 w 420"/>
                  <a:gd name="T57" fmla="*/ 274 h 461"/>
                  <a:gd name="T58" fmla="*/ 169 w 420"/>
                  <a:gd name="T59" fmla="*/ 55 h 461"/>
                  <a:gd name="T60" fmla="*/ 172 w 420"/>
                  <a:gd name="T61" fmla="*/ 45 h 461"/>
                  <a:gd name="T62" fmla="*/ 186 w 420"/>
                  <a:gd name="T63" fmla="*/ 40 h 461"/>
                  <a:gd name="T64" fmla="*/ 196 w 420"/>
                  <a:gd name="T65" fmla="*/ 45 h 461"/>
                  <a:gd name="T66" fmla="*/ 201 w 420"/>
                  <a:gd name="T67" fmla="*/ 204 h 461"/>
                  <a:gd name="T68" fmla="*/ 356 w 420"/>
                  <a:gd name="T69" fmla="*/ 230 h 461"/>
                  <a:gd name="T70" fmla="*/ 370 w 420"/>
                  <a:gd name="T71" fmla="*/ 242 h 461"/>
                  <a:gd name="T72" fmla="*/ 378 w 420"/>
                  <a:gd name="T73" fmla="*/ 274 h 461"/>
                  <a:gd name="T74" fmla="*/ 366 w 420"/>
                  <a:gd name="T75" fmla="*/ 441 h 461"/>
                  <a:gd name="T76" fmla="*/ 385 w 420"/>
                  <a:gd name="T77" fmla="*/ 454 h 461"/>
                  <a:gd name="T78" fmla="*/ 386 w 420"/>
                  <a:gd name="T79" fmla="*/ 456 h 461"/>
                  <a:gd name="T80" fmla="*/ 405 w 420"/>
                  <a:gd name="T81" fmla="*/ 444 h 461"/>
                  <a:gd name="T82" fmla="*/ 420 w 420"/>
                  <a:gd name="T83" fmla="*/ 276 h 461"/>
                  <a:gd name="T84" fmla="*/ 418 w 420"/>
                  <a:gd name="T85" fmla="*/ 254 h 461"/>
                  <a:gd name="T86" fmla="*/ 398 w 420"/>
                  <a:gd name="T87" fmla="*/ 210 h 461"/>
                  <a:gd name="T88" fmla="*/ 368 w 420"/>
                  <a:gd name="T89" fmla="*/ 190 h 4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20" h="461">
                    <a:moveTo>
                      <a:pt x="358" y="189"/>
                    </a:moveTo>
                    <a:lnTo>
                      <a:pt x="241" y="169"/>
                    </a:lnTo>
                    <a:lnTo>
                      <a:pt x="241" y="55"/>
                    </a:lnTo>
                    <a:lnTo>
                      <a:pt x="241" y="55"/>
                    </a:lnTo>
                    <a:lnTo>
                      <a:pt x="241" y="43"/>
                    </a:lnTo>
                    <a:lnTo>
                      <a:pt x="238" y="33"/>
                    </a:lnTo>
                    <a:lnTo>
                      <a:pt x="233" y="23"/>
                    </a:lnTo>
                    <a:lnTo>
                      <a:pt x="226" y="15"/>
                    </a:lnTo>
                    <a:lnTo>
                      <a:pt x="218" y="8"/>
                    </a:lnTo>
                    <a:lnTo>
                      <a:pt x="208" y="3"/>
                    </a:lnTo>
                    <a:lnTo>
                      <a:pt x="198" y="0"/>
                    </a:lnTo>
                    <a:lnTo>
                      <a:pt x="186" y="0"/>
                    </a:lnTo>
                    <a:lnTo>
                      <a:pt x="184" y="0"/>
                    </a:lnTo>
                    <a:lnTo>
                      <a:pt x="184" y="0"/>
                    </a:lnTo>
                    <a:lnTo>
                      <a:pt x="172" y="0"/>
                    </a:lnTo>
                    <a:lnTo>
                      <a:pt x="162" y="3"/>
                    </a:lnTo>
                    <a:lnTo>
                      <a:pt x="152" y="8"/>
                    </a:lnTo>
                    <a:lnTo>
                      <a:pt x="144" y="15"/>
                    </a:lnTo>
                    <a:lnTo>
                      <a:pt x="137" y="23"/>
                    </a:lnTo>
                    <a:lnTo>
                      <a:pt x="132" y="33"/>
                    </a:lnTo>
                    <a:lnTo>
                      <a:pt x="129" y="43"/>
                    </a:lnTo>
                    <a:lnTo>
                      <a:pt x="127" y="55"/>
                    </a:lnTo>
                    <a:lnTo>
                      <a:pt x="127" y="260"/>
                    </a:lnTo>
                    <a:lnTo>
                      <a:pt x="99" y="232"/>
                    </a:lnTo>
                    <a:lnTo>
                      <a:pt x="99" y="232"/>
                    </a:lnTo>
                    <a:lnTo>
                      <a:pt x="91" y="225"/>
                    </a:lnTo>
                    <a:lnTo>
                      <a:pt x="80" y="220"/>
                    </a:lnTo>
                    <a:lnTo>
                      <a:pt x="70" y="217"/>
                    </a:lnTo>
                    <a:lnTo>
                      <a:pt x="59" y="215"/>
                    </a:lnTo>
                    <a:lnTo>
                      <a:pt x="59" y="215"/>
                    </a:lnTo>
                    <a:lnTo>
                      <a:pt x="49" y="217"/>
                    </a:lnTo>
                    <a:lnTo>
                      <a:pt x="39" y="220"/>
                    </a:lnTo>
                    <a:lnTo>
                      <a:pt x="29" y="225"/>
                    </a:lnTo>
                    <a:lnTo>
                      <a:pt x="20" y="232"/>
                    </a:lnTo>
                    <a:lnTo>
                      <a:pt x="17" y="235"/>
                    </a:lnTo>
                    <a:lnTo>
                      <a:pt x="17" y="235"/>
                    </a:lnTo>
                    <a:lnTo>
                      <a:pt x="10" y="244"/>
                    </a:lnTo>
                    <a:lnTo>
                      <a:pt x="4" y="254"/>
                    </a:lnTo>
                    <a:lnTo>
                      <a:pt x="2" y="264"/>
                    </a:lnTo>
                    <a:lnTo>
                      <a:pt x="0" y="274"/>
                    </a:lnTo>
                    <a:lnTo>
                      <a:pt x="2" y="286"/>
                    </a:lnTo>
                    <a:lnTo>
                      <a:pt x="4" y="296"/>
                    </a:lnTo>
                    <a:lnTo>
                      <a:pt x="9" y="306"/>
                    </a:lnTo>
                    <a:lnTo>
                      <a:pt x="17" y="314"/>
                    </a:lnTo>
                    <a:lnTo>
                      <a:pt x="157" y="454"/>
                    </a:lnTo>
                    <a:lnTo>
                      <a:pt x="157" y="454"/>
                    </a:lnTo>
                    <a:lnTo>
                      <a:pt x="164" y="459"/>
                    </a:lnTo>
                    <a:lnTo>
                      <a:pt x="172" y="461"/>
                    </a:lnTo>
                    <a:lnTo>
                      <a:pt x="172" y="461"/>
                    </a:lnTo>
                    <a:lnTo>
                      <a:pt x="179" y="459"/>
                    </a:lnTo>
                    <a:lnTo>
                      <a:pt x="186" y="454"/>
                    </a:lnTo>
                    <a:lnTo>
                      <a:pt x="186" y="454"/>
                    </a:lnTo>
                    <a:lnTo>
                      <a:pt x="191" y="448"/>
                    </a:lnTo>
                    <a:lnTo>
                      <a:pt x="192" y="441"/>
                    </a:lnTo>
                    <a:lnTo>
                      <a:pt x="191" y="433"/>
                    </a:lnTo>
                    <a:lnTo>
                      <a:pt x="186" y="426"/>
                    </a:lnTo>
                    <a:lnTo>
                      <a:pt x="45" y="286"/>
                    </a:lnTo>
                    <a:lnTo>
                      <a:pt x="45" y="286"/>
                    </a:lnTo>
                    <a:lnTo>
                      <a:pt x="42" y="281"/>
                    </a:lnTo>
                    <a:lnTo>
                      <a:pt x="40" y="274"/>
                    </a:lnTo>
                    <a:lnTo>
                      <a:pt x="42" y="269"/>
                    </a:lnTo>
                    <a:lnTo>
                      <a:pt x="45" y="264"/>
                    </a:lnTo>
                    <a:lnTo>
                      <a:pt x="49" y="260"/>
                    </a:lnTo>
                    <a:lnTo>
                      <a:pt x="49" y="260"/>
                    </a:lnTo>
                    <a:lnTo>
                      <a:pt x="54" y="257"/>
                    </a:lnTo>
                    <a:lnTo>
                      <a:pt x="59" y="255"/>
                    </a:lnTo>
                    <a:lnTo>
                      <a:pt x="59" y="255"/>
                    </a:lnTo>
                    <a:lnTo>
                      <a:pt x="65" y="257"/>
                    </a:lnTo>
                    <a:lnTo>
                      <a:pt x="70" y="260"/>
                    </a:lnTo>
                    <a:lnTo>
                      <a:pt x="117" y="309"/>
                    </a:lnTo>
                    <a:lnTo>
                      <a:pt x="117" y="309"/>
                    </a:lnTo>
                    <a:lnTo>
                      <a:pt x="122" y="312"/>
                    </a:lnTo>
                    <a:lnTo>
                      <a:pt x="127" y="316"/>
                    </a:lnTo>
                    <a:lnTo>
                      <a:pt x="127" y="316"/>
                    </a:lnTo>
                    <a:lnTo>
                      <a:pt x="134" y="316"/>
                    </a:lnTo>
                    <a:lnTo>
                      <a:pt x="141" y="317"/>
                    </a:lnTo>
                    <a:lnTo>
                      <a:pt x="146" y="316"/>
                    </a:lnTo>
                    <a:lnTo>
                      <a:pt x="146" y="316"/>
                    </a:lnTo>
                    <a:lnTo>
                      <a:pt x="152" y="314"/>
                    </a:lnTo>
                    <a:lnTo>
                      <a:pt x="157" y="309"/>
                    </a:lnTo>
                    <a:lnTo>
                      <a:pt x="161" y="304"/>
                    </a:lnTo>
                    <a:lnTo>
                      <a:pt x="164" y="297"/>
                    </a:lnTo>
                    <a:lnTo>
                      <a:pt x="164" y="297"/>
                    </a:lnTo>
                    <a:lnTo>
                      <a:pt x="167" y="289"/>
                    </a:lnTo>
                    <a:lnTo>
                      <a:pt x="169" y="281"/>
                    </a:lnTo>
                    <a:lnTo>
                      <a:pt x="169" y="281"/>
                    </a:lnTo>
                    <a:lnTo>
                      <a:pt x="169" y="274"/>
                    </a:lnTo>
                    <a:lnTo>
                      <a:pt x="169" y="274"/>
                    </a:lnTo>
                    <a:lnTo>
                      <a:pt x="169" y="274"/>
                    </a:lnTo>
                    <a:lnTo>
                      <a:pt x="169" y="55"/>
                    </a:lnTo>
                    <a:lnTo>
                      <a:pt x="169" y="55"/>
                    </a:lnTo>
                    <a:lnTo>
                      <a:pt x="169" y="48"/>
                    </a:lnTo>
                    <a:lnTo>
                      <a:pt x="172" y="45"/>
                    </a:lnTo>
                    <a:lnTo>
                      <a:pt x="177" y="41"/>
                    </a:lnTo>
                    <a:lnTo>
                      <a:pt x="184" y="40"/>
                    </a:lnTo>
                    <a:lnTo>
                      <a:pt x="186" y="40"/>
                    </a:lnTo>
                    <a:lnTo>
                      <a:pt x="186" y="40"/>
                    </a:lnTo>
                    <a:lnTo>
                      <a:pt x="192" y="41"/>
                    </a:lnTo>
                    <a:lnTo>
                      <a:pt x="196" y="45"/>
                    </a:lnTo>
                    <a:lnTo>
                      <a:pt x="199" y="48"/>
                    </a:lnTo>
                    <a:lnTo>
                      <a:pt x="201" y="55"/>
                    </a:lnTo>
                    <a:lnTo>
                      <a:pt x="201" y="204"/>
                    </a:lnTo>
                    <a:lnTo>
                      <a:pt x="351" y="229"/>
                    </a:lnTo>
                    <a:lnTo>
                      <a:pt x="351" y="229"/>
                    </a:lnTo>
                    <a:lnTo>
                      <a:pt x="356" y="230"/>
                    </a:lnTo>
                    <a:lnTo>
                      <a:pt x="360" y="232"/>
                    </a:lnTo>
                    <a:lnTo>
                      <a:pt x="365" y="235"/>
                    </a:lnTo>
                    <a:lnTo>
                      <a:pt x="370" y="242"/>
                    </a:lnTo>
                    <a:lnTo>
                      <a:pt x="375" y="250"/>
                    </a:lnTo>
                    <a:lnTo>
                      <a:pt x="378" y="260"/>
                    </a:lnTo>
                    <a:lnTo>
                      <a:pt x="378" y="274"/>
                    </a:lnTo>
                    <a:lnTo>
                      <a:pt x="366" y="433"/>
                    </a:lnTo>
                    <a:lnTo>
                      <a:pt x="366" y="433"/>
                    </a:lnTo>
                    <a:lnTo>
                      <a:pt x="366" y="441"/>
                    </a:lnTo>
                    <a:lnTo>
                      <a:pt x="371" y="448"/>
                    </a:lnTo>
                    <a:lnTo>
                      <a:pt x="376" y="453"/>
                    </a:lnTo>
                    <a:lnTo>
                      <a:pt x="385" y="454"/>
                    </a:lnTo>
                    <a:lnTo>
                      <a:pt x="385" y="454"/>
                    </a:lnTo>
                    <a:lnTo>
                      <a:pt x="386" y="456"/>
                    </a:lnTo>
                    <a:lnTo>
                      <a:pt x="386" y="456"/>
                    </a:lnTo>
                    <a:lnTo>
                      <a:pt x="395" y="454"/>
                    </a:lnTo>
                    <a:lnTo>
                      <a:pt x="400" y="449"/>
                    </a:lnTo>
                    <a:lnTo>
                      <a:pt x="405" y="444"/>
                    </a:lnTo>
                    <a:lnTo>
                      <a:pt x="406" y="436"/>
                    </a:lnTo>
                    <a:lnTo>
                      <a:pt x="420" y="276"/>
                    </a:lnTo>
                    <a:lnTo>
                      <a:pt x="420" y="276"/>
                    </a:lnTo>
                    <a:lnTo>
                      <a:pt x="420" y="274"/>
                    </a:lnTo>
                    <a:lnTo>
                      <a:pt x="420" y="274"/>
                    </a:lnTo>
                    <a:lnTo>
                      <a:pt x="418" y="254"/>
                    </a:lnTo>
                    <a:lnTo>
                      <a:pt x="413" y="237"/>
                    </a:lnTo>
                    <a:lnTo>
                      <a:pt x="406" y="222"/>
                    </a:lnTo>
                    <a:lnTo>
                      <a:pt x="398" y="210"/>
                    </a:lnTo>
                    <a:lnTo>
                      <a:pt x="388" y="202"/>
                    </a:lnTo>
                    <a:lnTo>
                      <a:pt x="378" y="195"/>
                    </a:lnTo>
                    <a:lnTo>
                      <a:pt x="368" y="190"/>
                    </a:lnTo>
                    <a:lnTo>
                      <a:pt x="358" y="189"/>
                    </a:lnTo>
                    <a:lnTo>
                      <a:pt x="358" y="1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EE69B1E5-1495-1146-AD77-73888308AA32}"/>
              </a:ext>
            </a:extLst>
          </p:cNvPr>
          <p:cNvSpPr txBox="1"/>
          <p:nvPr/>
        </p:nvSpPr>
        <p:spPr>
          <a:xfrm>
            <a:off x="172642" y="292878"/>
            <a:ext cx="11012182" cy="6186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First Migration - € 5.8 billion Selling Platform in 6 Months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4681F75-6206-1E44-99DB-B21730EAABB7}"/>
              </a:ext>
            </a:extLst>
          </p:cNvPr>
          <p:cNvGrpSpPr/>
          <p:nvPr/>
        </p:nvGrpSpPr>
        <p:grpSpPr>
          <a:xfrm>
            <a:off x="144413" y="2231975"/>
            <a:ext cx="3600400" cy="766013"/>
            <a:chOff x="360437" y="1799927"/>
            <a:chExt cx="2592288" cy="766013"/>
          </a:xfrm>
        </p:grpSpPr>
        <p:sp>
          <p:nvSpPr>
            <p:cNvPr id="149" name="Rechteck 14">
              <a:extLst>
                <a:ext uri="{FF2B5EF4-FFF2-40B4-BE49-F238E27FC236}">
                  <a16:creationId xmlns:a16="http://schemas.microsoft.com/office/drawing/2014/main" id="{78A4A184-CB5D-D142-9783-10ABBA6E4476}"/>
                </a:ext>
              </a:extLst>
            </p:cNvPr>
            <p:cNvSpPr/>
            <p:nvPr/>
          </p:nvSpPr>
          <p:spPr bwMode="gray">
            <a:xfrm>
              <a:off x="360437" y="1799927"/>
              <a:ext cx="2592288" cy="766013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l">
                <a:buClr>
                  <a:srgbClr val="9B9B9B"/>
                </a:buClr>
              </a:pPr>
              <a:r>
                <a:rPr lang="en-US" sz="2800" b="1" dirty="0"/>
                <a:t>39</a:t>
              </a:r>
              <a:r>
                <a:rPr lang="en-US" sz="1599" dirty="0"/>
                <a:t> </a:t>
              </a:r>
              <a:r>
                <a:rPr lang="en-US" sz="2000" dirty="0">
                  <a:solidFill>
                    <a:schemeClr val="bg1"/>
                  </a:solidFill>
                </a:rPr>
                <a:t>Load balancers</a:t>
              </a:r>
              <a:endParaRPr lang="de-DE" sz="2000" kern="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DE8D1A86-2674-BC47-9DFF-9031A74842FE}"/>
                </a:ext>
              </a:extLst>
            </p:cNvPr>
            <p:cNvGrpSpPr/>
            <p:nvPr/>
          </p:nvGrpSpPr>
          <p:grpSpPr>
            <a:xfrm>
              <a:off x="2016621" y="1871935"/>
              <a:ext cx="792088" cy="576064"/>
              <a:chOff x="3520505" y="2306922"/>
              <a:chExt cx="333490" cy="284708"/>
            </a:xfrm>
            <a:solidFill>
              <a:schemeClr val="tx1"/>
            </a:solidFill>
          </p:grpSpPr>
          <p:sp>
            <p:nvSpPr>
              <p:cNvPr id="117" name="Freeform 82">
                <a:extLst>
                  <a:ext uri="{FF2B5EF4-FFF2-40B4-BE49-F238E27FC236}">
                    <a16:creationId xmlns:a16="http://schemas.microsoft.com/office/drawing/2014/main" id="{AF1BA0E4-408F-3940-9A7D-4A61F58FBA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208" y="2411581"/>
                <a:ext cx="267856" cy="76277"/>
              </a:xfrm>
              <a:custGeom>
                <a:avLst/>
                <a:gdLst>
                  <a:gd name="T0" fmla="*/ 20 w 603"/>
                  <a:gd name="T1" fmla="*/ 171 h 171"/>
                  <a:gd name="T2" fmla="*/ 35 w 603"/>
                  <a:gd name="T3" fmla="*/ 164 h 171"/>
                  <a:gd name="T4" fmla="*/ 39 w 603"/>
                  <a:gd name="T5" fmla="*/ 151 h 171"/>
                  <a:gd name="T6" fmla="*/ 281 w 603"/>
                  <a:gd name="T7" fmla="*/ 103 h 171"/>
                  <a:gd name="T8" fmla="*/ 281 w 603"/>
                  <a:gd name="T9" fmla="*/ 151 h 171"/>
                  <a:gd name="T10" fmla="*/ 287 w 603"/>
                  <a:gd name="T11" fmla="*/ 166 h 171"/>
                  <a:gd name="T12" fmla="*/ 301 w 603"/>
                  <a:gd name="T13" fmla="*/ 171 h 171"/>
                  <a:gd name="T14" fmla="*/ 309 w 603"/>
                  <a:gd name="T15" fmla="*/ 169 h 171"/>
                  <a:gd name="T16" fmla="*/ 321 w 603"/>
                  <a:gd name="T17" fmla="*/ 159 h 171"/>
                  <a:gd name="T18" fmla="*/ 322 w 603"/>
                  <a:gd name="T19" fmla="*/ 103 h 171"/>
                  <a:gd name="T20" fmla="*/ 562 w 603"/>
                  <a:gd name="T21" fmla="*/ 151 h 171"/>
                  <a:gd name="T22" fmla="*/ 563 w 603"/>
                  <a:gd name="T23" fmla="*/ 158 h 171"/>
                  <a:gd name="T24" fmla="*/ 575 w 603"/>
                  <a:gd name="T25" fmla="*/ 169 h 171"/>
                  <a:gd name="T26" fmla="*/ 583 w 603"/>
                  <a:gd name="T27" fmla="*/ 171 h 171"/>
                  <a:gd name="T28" fmla="*/ 597 w 603"/>
                  <a:gd name="T29" fmla="*/ 164 h 171"/>
                  <a:gd name="T30" fmla="*/ 603 w 603"/>
                  <a:gd name="T31" fmla="*/ 151 h 171"/>
                  <a:gd name="T32" fmla="*/ 603 w 603"/>
                  <a:gd name="T33" fmla="*/ 85 h 171"/>
                  <a:gd name="T34" fmla="*/ 600 w 603"/>
                  <a:gd name="T35" fmla="*/ 73 h 171"/>
                  <a:gd name="T36" fmla="*/ 590 w 603"/>
                  <a:gd name="T37" fmla="*/ 65 h 171"/>
                  <a:gd name="T38" fmla="*/ 587 w 603"/>
                  <a:gd name="T39" fmla="*/ 63 h 171"/>
                  <a:gd name="T40" fmla="*/ 322 w 603"/>
                  <a:gd name="T41" fmla="*/ 63 h 171"/>
                  <a:gd name="T42" fmla="*/ 322 w 603"/>
                  <a:gd name="T43" fmla="*/ 20 h 171"/>
                  <a:gd name="T44" fmla="*/ 316 w 603"/>
                  <a:gd name="T45" fmla="*/ 7 h 171"/>
                  <a:gd name="T46" fmla="*/ 301 w 603"/>
                  <a:gd name="T47" fmla="*/ 0 h 171"/>
                  <a:gd name="T48" fmla="*/ 294 w 603"/>
                  <a:gd name="T49" fmla="*/ 2 h 171"/>
                  <a:gd name="T50" fmla="*/ 282 w 603"/>
                  <a:gd name="T51" fmla="*/ 13 h 171"/>
                  <a:gd name="T52" fmla="*/ 281 w 603"/>
                  <a:gd name="T53" fmla="*/ 63 h 171"/>
                  <a:gd name="T54" fmla="*/ 21 w 603"/>
                  <a:gd name="T55" fmla="*/ 63 h 171"/>
                  <a:gd name="T56" fmla="*/ 11 w 603"/>
                  <a:gd name="T57" fmla="*/ 65 h 171"/>
                  <a:gd name="T58" fmla="*/ 6 w 603"/>
                  <a:gd name="T59" fmla="*/ 68 h 171"/>
                  <a:gd name="T60" fmla="*/ 0 w 603"/>
                  <a:gd name="T61" fmla="*/ 78 h 171"/>
                  <a:gd name="T62" fmla="*/ 0 w 603"/>
                  <a:gd name="T63" fmla="*/ 151 h 171"/>
                  <a:gd name="T64" fmla="*/ 1 w 603"/>
                  <a:gd name="T65" fmla="*/ 158 h 171"/>
                  <a:gd name="T66" fmla="*/ 11 w 603"/>
                  <a:gd name="T67" fmla="*/ 169 h 171"/>
                  <a:gd name="T68" fmla="*/ 20 w 603"/>
                  <a:gd name="T69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3" h="171">
                    <a:moveTo>
                      <a:pt x="20" y="171"/>
                    </a:moveTo>
                    <a:lnTo>
                      <a:pt x="20" y="171"/>
                    </a:lnTo>
                    <a:lnTo>
                      <a:pt x="28" y="169"/>
                    </a:lnTo>
                    <a:lnTo>
                      <a:pt x="35" y="164"/>
                    </a:lnTo>
                    <a:lnTo>
                      <a:pt x="38" y="158"/>
                    </a:lnTo>
                    <a:lnTo>
                      <a:pt x="39" y="151"/>
                    </a:lnTo>
                    <a:lnTo>
                      <a:pt x="39" y="103"/>
                    </a:lnTo>
                    <a:lnTo>
                      <a:pt x="281" y="103"/>
                    </a:lnTo>
                    <a:lnTo>
                      <a:pt x="281" y="151"/>
                    </a:lnTo>
                    <a:lnTo>
                      <a:pt x="281" y="151"/>
                    </a:lnTo>
                    <a:lnTo>
                      <a:pt x="282" y="159"/>
                    </a:lnTo>
                    <a:lnTo>
                      <a:pt x="287" y="166"/>
                    </a:lnTo>
                    <a:lnTo>
                      <a:pt x="294" y="169"/>
                    </a:lnTo>
                    <a:lnTo>
                      <a:pt x="301" y="171"/>
                    </a:lnTo>
                    <a:lnTo>
                      <a:pt x="301" y="171"/>
                    </a:lnTo>
                    <a:lnTo>
                      <a:pt x="309" y="169"/>
                    </a:lnTo>
                    <a:lnTo>
                      <a:pt x="316" y="166"/>
                    </a:lnTo>
                    <a:lnTo>
                      <a:pt x="321" y="159"/>
                    </a:lnTo>
                    <a:lnTo>
                      <a:pt x="322" y="151"/>
                    </a:lnTo>
                    <a:lnTo>
                      <a:pt x="322" y="103"/>
                    </a:lnTo>
                    <a:lnTo>
                      <a:pt x="562" y="103"/>
                    </a:lnTo>
                    <a:lnTo>
                      <a:pt x="562" y="151"/>
                    </a:lnTo>
                    <a:lnTo>
                      <a:pt x="562" y="151"/>
                    </a:lnTo>
                    <a:lnTo>
                      <a:pt x="563" y="158"/>
                    </a:lnTo>
                    <a:lnTo>
                      <a:pt x="568" y="164"/>
                    </a:lnTo>
                    <a:lnTo>
                      <a:pt x="575" y="169"/>
                    </a:lnTo>
                    <a:lnTo>
                      <a:pt x="583" y="171"/>
                    </a:lnTo>
                    <a:lnTo>
                      <a:pt x="583" y="171"/>
                    </a:lnTo>
                    <a:lnTo>
                      <a:pt x="590" y="169"/>
                    </a:lnTo>
                    <a:lnTo>
                      <a:pt x="597" y="164"/>
                    </a:lnTo>
                    <a:lnTo>
                      <a:pt x="602" y="158"/>
                    </a:lnTo>
                    <a:lnTo>
                      <a:pt x="603" y="151"/>
                    </a:lnTo>
                    <a:lnTo>
                      <a:pt x="603" y="85"/>
                    </a:lnTo>
                    <a:lnTo>
                      <a:pt x="603" y="85"/>
                    </a:lnTo>
                    <a:lnTo>
                      <a:pt x="602" y="78"/>
                    </a:lnTo>
                    <a:lnTo>
                      <a:pt x="600" y="73"/>
                    </a:lnTo>
                    <a:lnTo>
                      <a:pt x="595" y="68"/>
                    </a:lnTo>
                    <a:lnTo>
                      <a:pt x="590" y="65"/>
                    </a:lnTo>
                    <a:lnTo>
                      <a:pt x="590" y="65"/>
                    </a:lnTo>
                    <a:lnTo>
                      <a:pt x="587" y="63"/>
                    </a:lnTo>
                    <a:lnTo>
                      <a:pt x="582" y="63"/>
                    </a:lnTo>
                    <a:lnTo>
                      <a:pt x="322" y="63"/>
                    </a:lnTo>
                    <a:lnTo>
                      <a:pt x="322" y="20"/>
                    </a:lnTo>
                    <a:lnTo>
                      <a:pt x="322" y="20"/>
                    </a:lnTo>
                    <a:lnTo>
                      <a:pt x="321" y="13"/>
                    </a:lnTo>
                    <a:lnTo>
                      <a:pt x="316" y="7"/>
                    </a:lnTo>
                    <a:lnTo>
                      <a:pt x="309" y="2"/>
                    </a:lnTo>
                    <a:lnTo>
                      <a:pt x="301" y="0"/>
                    </a:lnTo>
                    <a:lnTo>
                      <a:pt x="301" y="0"/>
                    </a:lnTo>
                    <a:lnTo>
                      <a:pt x="294" y="2"/>
                    </a:lnTo>
                    <a:lnTo>
                      <a:pt x="287" y="7"/>
                    </a:lnTo>
                    <a:lnTo>
                      <a:pt x="282" y="13"/>
                    </a:lnTo>
                    <a:lnTo>
                      <a:pt x="281" y="20"/>
                    </a:lnTo>
                    <a:lnTo>
                      <a:pt x="281" y="63"/>
                    </a:lnTo>
                    <a:lnTo>
                      <a:pt x="21" y="63"/>
                    </a:lnTo>
                    <a:lnTo>
                      <a:pt x="21" y="63"/>
                    </a:lnTo>
                    <a:lnTo>
                      <a:pt x="16" y="63"/>
                    </a:lnTo>
                    <a:lnTo>
                      <a:pt x="11" y="65"/>
                    </a:lnTo>
                    <a:lnTo>
                      <a:pt x="11" y="65"/>
                    </a:lnTo>
                    <a:lnTo>
                      <a:pt x="6" y="68"/>
                    </a:lnTo>
                    <a:lnTo>
                      <a:pt x="3" y="73"/>
                    </a:lnTo>
                    <a:lnTo>
                      <a:pt x="0" y="78"/>
                    </a:lnTo>
                    <a:lnTo>
                      <a:pt x="0" y="85"/>
                    </a:lnTo>
                    <a:lnTo>
                      <a:pt x="0" y="151"/>
                    </a:lnTo>
                    <a:lnTo>
                      <a:pt x="0" y="151"/>
                    </a:lnTo>
                    <a:lnTo>
                      <a:pt x="1" y="158"/>
                    </a:lnTo>
                    <a:lnTo>
                      <a:pt x="5" y="164"/>
                    </a:lnTo>
                    <a:lnTo>
                      <a:pt x="11" y="169"/>
                    </a:lnTo>
                    <a:lnTo>
                      <a:pt x="20" y="171"/>
                    </a:lnTo>
                    <a:lnTo>
                      <a:pt x="20" y="1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8" name="Freeform 83">
                <a:extLst>
                  <a:ext uri="{FF2B5EF4-FFF2-40B4-BE49-F238E27FC236}">
                    <a16:creationId xmlns:a16="http://schemas.microsoft.com/office/drawing/2014/main" id="{193A5B82-89E5-EE44-A800-C062725A04A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47337" y="2306922"/>
                <a:ext cx="81599" cy="81599"/>
              </a:xfrm>
              <a:custGeom>
                <a:avLst/>
                <a:gdLst>
                  <a:gd name="T0" fmla="*/ 20 w 185"/>
                  <a:gd name="T1" fmla="*/ 185 h 185"/>
                  <a:gd name="T2" fmla="*/ 163 w 185"/>
                  <a:gd name="T3" fmla="*/ 185 h 185"/>
                  <a:gd name="T4" fmla="*/ 163 w 185"/>
                  <a:gd name="T5" fmla="*/ 185 h 185"/>
                  <a:gd name="T6" fmla="*/ 171 w 185"/>
                  <a:gd name="T7" fmla="*/ 183 h 185"/>
                  <a:gd name="T8" fmla="*/ 178 w 185"/>
                  <a:gd name="T9" fmla="*/ 178 h 185"/>
                  <a:gd name="T10" fmla="*/ 183 w 185"/>
                  <a:gd name="T11" fmla="*/ 173 h 185"/>
                  <a:gd name="T12" fmla="*/ 185 w 185"/>
                  <a:gd name="T13" fmla="*/ 165 h 185"/>
                  <a:gd name="T14" fmla="*/ 185 w 185"/>
                  <a:gd name="T15" fmla="*/ 22 h 185"/>
                  <a:gd name="T16" fmla="*/ 185 w 185"/>
                  <a:gd name="T17" fmla="*/ 22 h 185"/>
                  <a:gd name="T18" fmla="*/ 183 w 185"/>
                  <a:gd name="T19" fmla="*/ 13 h 185"/>
                  <a:gd name="T20" fmla="*/ 178 w 185"/>
                  <a:gd name="T21" fmla="*/ 7 h 185"/>
                  <a:gd name="T22" fmla="*/ 171 w 185"/>
                  <a:gd name="T23" fmla="*/ 2 h 185"/>
                  <a:gd name="T24" fmla="*/ 163 w 185"/>
                  <a:gd name="T25" fmla="*/ 0 h 185"/>
                  <a:gd name="T26" fmla="*/ 20 w 185"/>
                  <a:gd name="T27" fmla="*/ 0 h 185"/>
                  <a:gd name="T28" fmla="*/ 20 w 185"/>
                  <a:gd name="T29" fmla="*/ 0 h 185"/>
                  <a:gd name="T30" fmla="*/ 13 w 185"/>
                  <a:gd name="T31" fmla="*/ 2 h 185"/>
                  <a:gd name="T32" fmla="*/ 7 w 185"/>
                  <a:gd name="T33" fmla="*/ 7 h 185"/>
                  <a:gd name="T34" fmla="*/ 2 w 185"/>
                  <a:gd name="T35" fmla="*/ 13 h 185"/>
                  <a:gd name="T36" fmla="*/ 0 w 185"/>
                  <a:gd name="T37" fmla="*/ 22 h 185"/>
                  <a:gd name="T38" fmla="*/ 0 w 185"/>
                  <a:gd name="T39" fmla="*/ 165 h 185"/>
                  <a:gd name="T40" fmla="*/ 0 w 185"/>
                  <a:gd name="T41" fmla="*/ 165 h 185"/>
                  <a:gd name="T42" fmla="*/ 2 w 185"/>
                  <a:gd name="T43" fmla="*/ 173 h 185"/>
                  <a:gd name="T44" fmla="*/ 7 w 185"/>
                  <a:gd name="T45" fmla="*/ 178 h 185"/>
                  <a:gd name="T46" fmla="*/ 13 w 185"/>
                  <a:gd name="T47" fmla="*/ 183 h 185"/>
                  <a:gd name="T48" fmla="*/ 20 w 185"/>
                  <a:gd name="T49" fmla="*/ 185 h 185"/>
                  <a:gd name="T50" fmla="*/ 20 w 185"/>
                  <a:gd name="T51" fmla="*/ 185 h 185"/>
                  <a:gd name="T52" fmla="*/ 40 w 185"/>
                  <a:gd name="T53" fmla="*/ 42 h 185"/>
                  <a:gd name="T54" fmla="*/ 143 w 185"/>
                  <a:gd name="T55" fmla="*/ 42 h 185"/>
                  <a:gd name="T56" fmla="*/ 143 w 185"/>
                  <a:gd name="T57" fmla="*/ 145 h 185"/>
                  <a:gd name="T58" fmla="*/ 40 w 185"/>
                  <a:gd name="T59" fmla="*/ 145 h 185"/>
                  <a:gd name="T60" fmla="*/ 40 w 185"/>
                  <a:gd name="T61" fmla="*/ 42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85" h="185">
                    <a:moveTo>
                      <a:pt x="20" y="185"/>
                    </a:moveTo>
                    <a:lnTo>
                      <a:pt x="163" y="185"/>
                    </a:lnTo>
                    <a:lnTo>
                      <a:pt x="163" y="185"/>
                    </a:lnTo>
                    <a:lnTo>
                      <a:pt x="171" y="183"/>
                    </a:lnTo>
                    <a:lnTo>
                      <a:pt x="178" y="178"/>
                    </a:lnTo>
                    <a:lnTo>
                      <a:pt x="183" y="173"/>
                    </a:lnTo>
                    <a:lnTo>
                      <a:pt x="185" y="165"/>
                    </a:lnTo>
                    <a:lnTo>
                      <a:pt x="185" y="22"/>
                    </a:lnTo>
                    <a:lnTo>
                      <a:pt x="185" y="22"/>
                    </a:lnTo>
                    <a:lnTo>
                      <a:pt x="183" y="13"/>
                    </a:lnTo>
                    <a:lnTo>
                      <a:pt x="178" y="7"/>
                    </a:lnTo>
                    <a:lnTo>
                      <a:pt x="171" y="2"/>
                    </a:lnTo>
                    <a:lnTo>
                      <a:pt x="163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7" y="7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0" y="165"/>
                    </a:lnTo>
                    <a:lnTo>
                      <a:pt x="0" y="165"/>
                    </a:lnTo>
                    <a:lnTo>
                      <a:pt x="2" y="173"/>
                    </a:lnTo>
                    <a:lnTo>
                      <a:pt x="7" y="178"/>
                    </a:lnTo>
                    <a:lnTo>
                      <a:pt x="13" y="183"/>
                    </a:lnTo>
                    <a:lnTo>
                      <a:pt x="20" y="185"/>
                    </a:lnTo>
                    <a:lnTo>
                      <a:pt x="20" y="185"/>
                    </a:lnTo>
                    <a:close/>
                    <a:moveTo>
                      <a:pt x="40" y="42"/>
                    </a:moveTo>
                    <a:lnTo>
                      <a:pt x="143" y="42"/>
                    </a:lnTo>
                    <a:lnTo>
                      <a:pt x="143" y="145"/>
                    </a:lnTo>
                    <a:lnTo>
                      <a:pt x="40" y="145"/>
                    </a:lnTo>
                    <a:lnTo>
                      <a:pt x="40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9" name="Freeform 84">
                <a:extLst>
                  <a:ext uri="{FF2B5EF4-FFF2-40B4-BE49-F238E27FC236}">
                    <a16:creationId xmlns:a16="http://schemas.microsoft.com/office/drawing/2014/main" id="{B8C953D9-4490-2340-B9D2-E89E8DDCBE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47337" y="2510918"/>
                <a:ext cx="81599" cy="80712"/>
              </a:xfrm>
              <a:custGeom>
                <a:avLst/>
                <a:gdLst>
                  <a:gd name="T0" fmla="*/ 163 w 185"/>
                  <a:gd name="T1" fmla="*/ 0 h 182"/>
                  <a:gd name="T2" fmla="*/ 20 w 185"/>
                  <a:gd name="T3" fmla="*/ 0 h 182"/>
                  <a:gd name="T4" fmla="*/ 20 w 185"/>
                  <a:gd name="T5" fmla="*/ 0 h 182"/>
                  <a:gd name="T6" fmla="*/ 12 w 185"/>
                  <a:gd name="T7" fmla="*/ 0 h 182"/>
                  <a:gd name="T8" fmla="*/ 7 w 185"/>
                  <a:gd name="T9" fmla="*/ 5 h 182"/>
                  <a:gd name="T10" fmla="*/ 2 w 185"/>
                  <a:gd name="T11" fmla="*/ 11 h 182"/>
                  <a:gd name="T12" fmla="*/ 0 w 185"/>
                  <a:gd name="T13" fmla="*/ 20 h 182"/>
                  <a:gd name="T14" fmla="*/ 0 w 185"/>
                  <a:gd name="T15" fmla="*/ 163 h 182"/>
                  <a:gd name="T16" fmla="*/ 0 w 185"/>
                  <a:gd name="T17" fmla="*/ 163 h 182"/>
                  <a:gd name="T18" fmla="*/ 2 w 185"/>
                  <a:gd name="T19" fmla="*/ 171 h 182"/>
                  <a:gd name="T20" fmla="*/ 7 w 185"/>
                  <a:gd name="T21" fmla="*/ 178 h 182"/>
                  <a:gd name="T22" fmla="*/ 12 w 185"/>
                  <a:gd name="T23" fmla="*/ 181 h 182"/>
                  <a:gd name="T24" fmla="*/ 20 w 185"/>
                  <a:gd name="T25" fmla="*/ 182 h 182"/>
                  <a:gd name="T26" fmla="*/ 163 w 185"/>
                  <a:gd name="T27" fmla="*/ 182 h 182"/>
                  <a:gd name="T28" fmla="*/ 163 w 185"/>
                  <a:gd name="T29" fmla="*/ 182 h 182"/>
                  <a:gd name="T30" fmla="*/ 171 w 185"/>
                  <a:gd name="T31" fmla="*/ 181 h 182"/>
                  <a:gd name="T32" fmla="*/ 178 w 185"/>
                  <a:gd name="T33" fmla="*/ 178 h 182"/>
                  <a:gd name="T34" fmla="*/ 183 w 185"/>
                  <a:gd name="T35" fmla="*/ 171 h 182"/>
                  <a:gd name="T36" fmla="*/ 185 w 185"/>
                  <a:gd name="T37" fmla="*/ 163 h 182"/>
                  <a:gd name="T38" fmla="*/ 185 w 185"/>
                  <a:gd name="T39" fmla="*/ 20 h 182"/>
                  <a:gd name="T40" fmla="*/ 185 w 185"/>
                  <a:gd name="T41" fmla="*/ 20 h 182"/>
                  <a:gd name="T42" fmla="*/ 183 w 185"/>
                  <a:gd name="T43" fmla="*/ 11 h 182"/>
                  <a:gd name="T44" fmla="*/ 178 w 185"/>
                  <a:gd name="T45" fmla="*/ 5 h 182"/>
                  <a:gd name="T46" fmla="*/ 171 w 185"/>
                  <a:gd name="T47" fmla="*/ 0 h 182"/>
                  <a:gd name="T48" fmla="*/ 163 w 185"/>
                  <a:gd name="T49" fmla="*/ 0 h 182"/>
                  <a:gd name="T50" fmla="*/ 163 w 185"/>
                  <a:gd name="T51" fmla="*/ 0 h 182"/>
                  <a:gd name="T52" fmla="*/ 143 w 185"/>
                  <a:gd name="T53" fmla="*/ 143 h 182"/>
                  <a:gd name="T54" fmla="*/ 40 w 185"/>
                  <a:gd name="T55" fmla="*/ 143 h 182"/>
                  <a:gd name="T56" fmla="*/ 40 w 185"/>
                  <a:gd name="T57" fmla="*/ 40 h 182"/>
                  <a:gd name="T58" fmla="*/ 143 w 185"/>
                  <a:gd name="T59" fmla="*/ 40 h 182"/>
                  <a:gd name="T60" fmla="*/ 143 w 185"/>
                  <a:gd name="T61" fmla="*/ 143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85" h="182">
                    <a:moveTo>
                      <a:pt x="163" y="0"/>
                    </a:moveTo>
                    <a:lnTo>
                      <a:pt x="20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7" y="5"/>
                    </a:lnTo>
                    <a:lnTo>
                      <a:pt x="2" y="11"/>
                    </a:lnTo>
                    <a:lnTo>
                      <a:pt x="0" y="20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2" y="171"/>
                    </a:lnTo>
                    <a:lnTo>
                      <a:pt x="7" y="178"/>
                    </a:lnTo>
                    <a:lnTo>
                      <a:pt x="12" y="181"/>
                    </a:lnTo>
                    <a:lnTo>
                      <a:pt x="20" y="182"/>
                    </a:lnTo>
                    <a:lnTo>
                      <a:pt x="163" y="182"/>
                    </a:lnTo>
                    <a:lnTo>
                      <a:pt x="163" y="182"/>
                    </a:lnTo>
                    <a:lnTo>
                      <a:pt x="171" y="181"/>
                    </a:lnTo>
                    <a:lnTo>
                      <a:pt x="178" y="178"/>
                    </a:lnTo>
                    <a:lnTo>
                      <a:pt x="183" y="171"/>
                    </a:lnTo>
                    <a:lnTo>
                      <a:pt x="185" y="163"/>
                    </a:lnTo>
                    <a:lnTo>
                      <a:pt x="185" y="20"/>
                    </a:lnTo>
                    <a:lnTo>
                      <a:pt x="185" y="20"/>
                    </a:lnTo>
                    <a:lnTo>
                      <a:pt x="183" y="11"/>
                    </a:lnTo>
                    <a:lnTo>
                      <a:pt x="178" y="5"/>
                    </a:lnTo>
                    <a:lnTo>
                      <a:pt x="171" y="0"/>
                    </a:lnTo>
                    <a:lnTo>
                      <a:pt x="163" y="0"/>
                    </a:lnTo>
                    <a:lnTo>
                      <a:pt x="163" y="0"/>
                    </a:lnTo>
                    <a:close/>
                    <a:moveTo>
                      <a:pt x="143" y="143"/>
                    </a:moveTo>
                    <a:lnTo>
                      <a:pt x="40" y="143"/>
                    </a:lnTo>
                    <a:lnTo>
                      <a:pt x="40" y="40"/>
                    </a:lnTo>
                    <a:lnTo>
                      <a:pt x="143" y="40"/>
                    </a:lnTo>
                    <a:lnTo>
                      <a:pt x="143" y="1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0" name="Freeform 85">
                <a:extLst>
                  <a:ext uri="{FF2B5EF4-FFF2-40B4-BE49-F238E27FC236}">
                    <a16:creationId xmlns:a16="http://schemas.microsoft.com/office/drawing/2014/main" id="{EA07D4D1-980E-CC41-9F82-925A8106BA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20505" y="2510918"/>
                <a:ext cx="82486" cy="80712"/>
              </a:xfrm>
              <a:custGeom>
                <a:avLst/>
                <a:gdLst>
                  <a:gd name="T0" fmla="*/ 164 w 184"/>
                  <a:gd name="T1" fmla="*/ 0 h 182"/>
                  <a:gd name="T2" fmla="*/ 21 w 184"/>
                  <a:gd name="T3" fmla="*/ 0 h 182"/>
                  <a:gd name="T4" fmla="*/ 21 w 184"/>
                  <a:gd name="T5" fmla="*/ 0 h 182"/>
                  <a:gd name="T6" fmla="*/ 13 w 184"/>
                  <a:gd name="T7" fmla="*/ 0 h 182"/>
                  <a:gd name="T8" fmla="*/ 6 w 184"/>
                  <a:gd name="T9" fmla="*/ 5 h 182"/>
                  <a:gd name="T10" fmla="*/ 1 w 184"/>
                  <a:gd name="T11" fmla="*/ 11 h 182"/>
                  <a:gd name="T12" fmla="*/ 0 w 184"/>
                  <a:gd name="T13" fmla="*/ 20 h 182"/>
                  <a:gd name="T14" fmla="*/ 0 w 184"/>
                  <a:gd name="T15" fmla="*/ 163 h 182"/>
                  <a:gd name="T16" fmla="*/ 0 w 184"/>
                  <a:gd name="T17" fmla="*/ 163 h 182"/>
                  <a:gd name="T18" fmla="*/ 1 w 184"/>
                  <a:gd name="T19" fmla="*/ 171 h 182"/>
                  <a:gd name="T20" fmla="*/ 6 w 184"/>
                  <a:gd name="T21" fmla="*/ 178 h 182"/>
                  <a:gd name="T22" fmla="*/ 13 w 184"/>
                  <a:gd name="T23" fmla="*/ 181 h 182"/>
                  <a:gd name="T24" fmla="*/ 21 w 184"/>
                  <a:gd name="T25" fmla="*/ 182 h 182"/>
                  <a:gd name="T26" fmla="*/ 164 w 184"/>
                  <a:gd name="T27" fmla="*/ 182 h 182"/>
                  <a:gd name="T28" fmla="*/ 164 w 184"/>
                  <a:gd name="T29" fmla="*/ 182 h 182"/>
                  <a:gd name="T30" fmla="*/ 173 w 184"/>
                  <a:gd name="T31" fmla="*/ 181 h 182"/>
                  <a:gd name="T32" fmla="*/ 179 w 184"/>
                  <a:gd name="T33" fmla="*/ 178 h 182"/>
                  <a:gd name="T34" fmla="*/ 183 w 184"/>
                  <a:gd name="T35" fmla="*/ 171 h 182"/>
                  <a:gd name="T36" fmla="*/ 184 w 184"/>
                  <a:gd name="T37" fmla="*/ 163 h 182"/>
                  <a:gd name="T38" fmla="*/ 184 w 184"/>
                  <a:gd name="T39" fmla="*/ 20 h 182"/>
                  <a:gd name="T40" fmla="*/ 184 w 184"/>
                  <a:gd name="T41" fmla="*/ 20 h 182"/>
                  <a:gd name="T42" fmla="*/ 183 w 184"/>
                  <a:gd name="T43" fmla="*/ 11 h 182"/>
                  <a:gd name="T44" fmla="*/ 179 w 184"/>
                  <a:gd name="T45" fmla="*/ 5 h 182"/>
                  <a:gd name="T46" fmla="*/ 173 w 184"/>
                  <a:gd name="T47" fmla="*/ 0 h 182"/>
                  <a:gd name="T48" fmla="*/ 164 w 184"/>
                  <a:gd name="T49" fmla="*/ 0 h 182"/>
                  <a:gd name="T50" fmla="*/ 164 w 184"/>
                  <a:gd name="T51" fmla="*/ 0 h 182"/>
                  <a:gd name="T52" fmla="*/ 144 w 184"/>
                  <a:gd name="T53" fmla="*/ 143 h 182"/>
                  <a:gd name="T54" fmla="*/ 41 w 184"/>
                  <a:gd name="T55" fmla="*/ 143 h 182"/>
                  <a:gd name="T56" fmla="*/ 41 w 184"/>
                  <a:gd name="T57" fmla="*/ 40 h 182"/>
                  <a:gd name="T58" fmla="*/ 144 w 184"/>
                  <a:gd name="T59" fmla="*/ 40 h 182"/>
                  <a:gd name="T60" fmla="*/ 144 w 184"/>
                  <a:gd name="T61" fmla="*/ 143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84" h="182">
                    <a:moveTo>
                      <a:pt x="164" y="0"/>
                    </a:moveTo>
                    <a:lnTo>
                      <a:pt x="21" y="0"/>
                    </a:lnTo>
                    <a:lnTo>
                      <a:pt x="21" y="0"/>
                    </a:lnTo>
                    <a:lnTo>
                      <a:pt x="13" y="0"/>
                    </a:lnTo>
                    <a:lnTo>
                      <a:pt x="6" y="5"/>
                    </a:lnTo>
                    <a:lnTo>
                      <a:pt x="1" y="11"/>
                    </a:lnTo>
                    <a:lnTo>
                      <a:pt x="0" y="20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1" y="171"/>
                    </a:lnTo>
                    <a:lnTo>
                      <a:pt x="6" y="178"/>
                    </a:lnTo>
                    <a:lnTo>
                      <a:pt x="13" y="181"/>
                    </a:lnTo>
                    <a:lnTo>
                      <a:pt x="21" y="182"/>
                    </a:lnTo>
                    <a:lnTo>
                      <a:pt x="164" y="182"/>
                    </a:lnTo>
                    <a:lnTo>
                      <a:pt x="164" y="182"/>
                    </a:lnTo>
                    <a:lnTo>
                      <a:pt x="173" y="181"/>
                    </a:lnTo>
                    <a:lnTo>
                      <a:pt x="179" y="178"/>
                    </a:lnTo>
                    <a:lnTo>
                      <a:pt x="183" y="171"/>
                    </a:lnTo>
                    <a:lnTo>
                      <a:pt x="184" y="163"/>
                    </a:lnTo>
                    <a:lnTo>
                      <a:pt x="184" y="20"/>
                    </a:lnTo>
                    <a:lnTo>
                      <a:pt x="184" y="20"/>
                    </a:lnTo>
                    <a:lnTo>
                      <a:pt x="183" y="11"/>
                    </a:lnTo>
                    <a:lnTo>
                      <a:pt x="179" y="5"/>
                    </a:lnTo>
                    <a:lnTo>
                      <a:pt x="173" y="0"/>
                    </a:lnTo>
                    <a:lnTo>
                      <a:pt x="164" y="0"/>
                    </a:lnTo>
                    <a:lnTo>
                      <a:pt x="164" y="0"/>
                    </a:lnTo>
                    <a:close/>
                    <a:moveTo>
                      <a:pt x="144" y="143"/>
                    </a:moveTo>
                    <a:lnTo>
                      <a:pt x="41" y="143"/>
                    </a:lnTo>
                    <a:lnTo>
                      <a:pt x="41" y="40"/>
                    </a:lnTo>
                    <a:lnTo>
                      <a:pt x="144" y="40"/>
                    </a:lnTo>
                    <a:lnTo>
                      <a:pt x="144" y="1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3" name="Freeform 86">
                <a:extLst>
                  <a:ext uri="{FF2B5EF4-FFF2-40B4-BE49-F238E27FC236}">
                    <a16:creationId xmlns:a16="http://schemas.microsoft.com/office/drawing/2014/main" id="{61289EB8-40E2-2240-A379-677F1A9426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73283" y="2510918"/>
                <a:ext cx="80712" cy="80712"/>
              </a:xfrm>
              <a:custGeom>
                <a:avLst/>
                <a:gdLst>
                  <a:gd name="T0" fmla="*/ 163 w 183"/>
                  <a:gd name="T1" fmla="*/ 0 h 182"/>
                  <a:gd name="T2" fmla="*/ 20 w 183"/>
                  <a:gd name="T3" fmla="*/ 0 h 182"/>
                  <a:gd name="T4" fmla="*/ 20 w 183"/>
                  <a:gd name="T5" fmla="*/ 0 h 182"/>
                  <a:gd name="T6" fmla="*/ 11 w 183"/>
                  <a:gd name="T7" fmla="*/ 0 h 182"/>
                  <a:gd name="T8" fmla="*/ 5 w 183"/>
                  <a:gd name="T9" fmla="*/ 5 h 182"/>
                  <a:gd name="T10" fmla="*/ 1 w 183"/>
                  <a:gd name="T11" fmla="*/ 11 h 182"/>
                  <a:gd name="T12" fmla="*/ 0 w 183"/>
                  <a:gd name="T13" fmla="*/ 20 h 182"/>
                  <a:gd name="T14" fmla="*/ 0 w 183"/>
                  <a:gd name="T15" fmla="*/ 163 h 182"/>
                  <a:gd name="T16" fmla="*/ 0 w 183"/>
                  <a:gd name="T17" fmla="*/ 163 h 182"/>
                  <a:gd name="T18" fmla="*/ 1 w 183"/>
                  <a:gd name="T19" fmla="*/ 171 h 182"/>
                  <a:gd name="T20" fmla="*/ 5 w 183"/>
                  <a:gd name="T21" fmla="*/ 178 h 182"/>
                  <a:gd name="T22" fmla="*/ 11 w 183"/>
                  <a:gd name="T23" fmla="*/ 181 h 182"/>
                  <a:gd name="T24" fmla="*/ 20 w 183"/>
                  <a:gd name="T25" fmla="*/ 182 h 182"/>
                  <a:gd name="T26" fmla="*/ 163 w 183"/>
                  <a:gd name="T27" fmla="*/ 182 h 182"/>
                  <a:gd name="T28" fmla="*/ 163 w 183"/>
                  <a:gd name="T29" fmla="*/ 182 h 182"/>
                  <a:gd name="T30" fmla="*/ 171 w 183"/>
                  <a:gd name="T31" fmla="*/ 181 h 182"/>
                  <a:gd name="T32" fmla="*/ 178 w 183"/>
                  <a:gd name="T33" fmla="*/ 178 h 182"/>
                  <a:gd name="T34" fmla="*/ 181 w 183"/>
                  <a:gd name="T35" fmla="*/ 171 h 182"/>
                  <a:gd name="T36" fmla="*/ 183 w 183"/>
                  <a:gd name="T37" fmla="*/ 163 h 182"/>
                  <a:gd name="T38" fmla="*/ 183 w 183"/>
                  <a:gd name="T39" fmla="*/ 20 h 182"/>
                  <a:gd name="T40" fmla="*/ 183 w 183"/>
                  <a:gd name="T41" fmla="*/ 20 h 182"/>
                  <a:gd name="T42" fmla="*/ 181 w 183"/>
                  <a:gd name="T43" fmla="*/ 11 h 182"/>
                  <a:gd name="T44" fmla="*/ 178 w 183"/>
                  <a:gd name="T45" fmla="*/ 5 h 182"/>
                  <a:gd name="T46" fmla="*/ 171 w 183"/>
                  <a:gd name="T47" fmla="*/ 0 h 182"/>
                  <a:gd name="T48" fmla="*/ 163 w 183"/>
                  <a:gd name="T49" fmla="*/ 0 h 182"/>
                  <a:gd name="T50" fmla="*/ 163 w 183"/>
                  <a:gd name="T51" fmla="*/ 0 h 182"/>
                  <a:gd name="T52" fmla="*/ 143 w 183"/>
                  <a:gd name="T53" fmla="*/ 143 h 182"/>
                  <a:gd name="T54" fmla="*/ 39 w 183"/>
                  <a:gd name="T55" fmla="*/ 143 h 182"/>
                  <a:gd name="T56" fmla="*/ 39 w 183"/>
                  <a:gd name="T57" fmla="*/ 40 h 182"/>
                  <a:gd name="T58" fmla="*/ 143 w 183"/>
                  <a:gd name="T59" fmla="*/ 40 h 182"/>
                  <a:gd name="T60" fmla="*/ 143 w 183"/>
                  <a:gd name="T61" fmla="*/ 143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83" h="182">
                    <a:moveTo>
                      <a:pt x="163" y="0"/>
                    </a:moveTo>
                    <a:lnTo>
                      <a:pt x="20" y="0"/>
                    </a:lnTo>
                    <a:lnTo>
                      <a:pt x="20" y="0"/>
                    </a:lnTo>
                    <a:lnTo>
                      <a:pt x="11" y="0"/>
                    </a:lnTo>
                    <a:lnTo>
                      <a:pt x="5" y="5"/>
                    </a:lnTo>
                    <a:lnTo>
                      <a:pt x="1" y="11"/>
                    </a:lnTo>
                    <a:lnTo>
                      <a:pt x="0" y="20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1" y="171"/>
                    </a:lnTo>
                    <a:lnTo>
                      <a:pt x="5" y="178"/>
                    </a:lnTo>
                    <a:lnTo>
                      <a:pt x="11" y="181"/>
                    </a:lnTo>
                    <a:lnTo>
                      <a:pt x="20" y="182"/>
                    </a:lnTo>
                    <a:lnTo>
                      <a:pt x="163" y="182"/>
                    </a:lnTo>
                    <a:lnTo>
                      <a:pt x="163" y="182"/>
                    </a:lnTo>
                    <a:lnTo>
                      <a:pt x="171" y="181"/>
                    </a:lnTo>
                    <a:lnTo>
                      <a:pt x="178" y="178"/>
                    </a:lnTo>
                    <a:lnTo>
                      <a:pt x="181" y="171"/>
                    </a:lnTo>
                    <a:lnTo>
                      <a:pt x="183" y="163"/>
                    </a:lnTo>
                    <a:lnTo>
                      <a:pt x="183" y="20"/>
                    </a:lnTo>
                    <a:lnTo>
                      <a:pt x="183" y="20"/>
                    </a:lnTo>
                    <a:lnTo>
                      <a:pt x="181" y="11"/>
                    </a:lnTo>
                    <a:lnTo>
                      <a:pt x="178" y="5"/>
                    </a:lnTo>
                    <a:lnTo>
                      <a:pt x="171" y="0"/>
                    </a:lnTo>
                    <a:lnTo>
                      <a:pt x="163" y="0"/>
                    </a:lnTo>
                    <a:lnTo>
                      <a:pt x="163" y="0"/>
                    </a:lnTo>
                    <a:close/>
                    <a:moveTo>
                      <a:pt x="143" y="143"/>
                    </a:moveTo>
                    <a:lnTo>
                      <a:pt x="39" y="143"/>
                    </a:lnTo>
                    <a:lnTo>
                      <a:pt x="39" y="40"/>
                    </a:lnTo>
                    <a:lnTo>
                      <a:pt x="143" y="40"/>
                    </a:lnTo>
                    <a:lnTo>
                      <a:pt x="143" y="1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54C8A72-7D1D-5F4E-925B-98710C070B24}"/>
              </a:ext>
            </a:extLst>
          </p:cNvPr>
          <p:cNvGrpSpPr/>
          <p:nvPr/>
        </p:nvGrpSpPr>
        <p:grpSpPr>
          <a:xfrm>
            <a:off x="144413" y="3096071"/>
            <a:ext cx="3600400" cy="792088"/>
            <a:chOff x="144413" y="3096071"/>
            <a:chExt cx="3600400" cy="792088"/>
          </a:xfrm>
        </p:grpSpPr>
        <p:sp>
          <p:nvSpPr>
            <p:cNvPr id="151" name="Rechteck 14">
              <a:extLst>
                <a:ext uri="{FF2B5EF4-FFF2-40B4-BE49-F238E27FC236}">
                  <a16:creationId xmlns:a16="http://schemas.microsoft.com/office/drawing/2014/main" id="{42CE7320-8EF1-B946-B5A7-46E582B1ACD4}"/>
                </a:ext>
              </a:extLst>
            </p:cNvPr>
            <p:cNvSpPr/>
            <p:nvPr/>
          </p:nvSpPr>
          <p:spPr bwMode="gray">
            <a:xfrm>
              <a:off x="144413" y="3096071"/>
              <a:ext cx="3600400" cy="792088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l">
                <a:buClr>
                  <a:srgbClr val="9B9B9B"/>
                </a:buClr>
              </a:pPr>
              <a:r>
                <a:rPr lang="en-US" sz="2800" b="1" dirty="0"/>
                <a:t>27</a:t>
              </a:r>
              <a:r>
                <a:rPr lang="en-US" sz="1599" dirty="0"/>
                <a:t> </a:t>
              </a:r>
              <a:r>
                <a:rPr lang="en-US" sz="2000" dirty="0">
                  <a:solidFill>
                    <a:schemeClr val="bg1"/>
                  </a:solidFill>
                </a:rPr>
                <a:t>Environments</a:t>
              </a:r>
              <a:endParaRPr lang="de-DE" sz="1599" kern="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3C2690B4-D708-C34B-A097-93F3E7164165}"/>
                </a:ext>
              </a:extLst>
            </p:cNvPr>
            <p:cNvGrpSpPr/>
            <p:nvPr/>
          </p:nvGrpSpPr>
          <p:grpSpPr>
            <a:xfrm>
              <a:off x="2588686" y="3168079"/>
              <a:ext cx="1012111" cy="643170"/>
              <a:chOff x="365488" y="1866756"/>
              <a:chExt cx="396554" cy="327589"/>
            </a:xfrm>
            <a:solidFill>
              <a:schemeClr val="tx1"/>
            </a:solidFill>
          </p:grpSpPr>
          <p:sp>
            <p:nvSpPr>
              <p:cNvPr id="153" name="Freeform 98">
                <a:extLst>
                  <a:ext uri="{FF2B5EF4-FFF2-40B4-BE49-F238E27FC236}">
                    <a16:creationId xmlns:a16="http://schemas.microsoft.com/office/drawing/2014/main" id="{946AC429-DAF6-8A44-A3DC-2146AA4285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558" y="2172793"/>
                <a:ext cx="170260" cy="21552"/>
              </a:xfrm>
              <a:custGeom>
                <a:avLst/>
                <a:gdLst>
                  <a:gd name="T0" fmla="*/ 296 w 316"/>
                  <a:gd name="T1" fmla="*/ 40 h 40"/>
                  <a:gd name="T2" fmla="*/ 20 w 316"/>
                  <a:gd name="T3" fmla="*/ 40 h 40"/>
                  <a:gd name="T4" fmla="*/ 20 w 316"/>
                  <a:gd name="T5" fmla="*/ 40 h 40"/>
                  <a:gd name="T6" fmla="*/ 13 w 316"/>
                  <a:gd name="T7" fmla="*/ 39 h 40"/>
                  <a:gd name="T8" fmla="*/ 7 w 316"/>
                  <a:gd name="T9" fmla="*/ 35 h 40"/>
                  <a:gd name="T10" fmla="*/ 2 w 316"/>
                  <a:gd name="T11" fmla="*/ 29 h 40"/>
                  <a:gd name="T12" fmla="*/ 0 w 316"/>
                  <a:gd name="T13" fmla="*/ 20 h 40"/>
                  <a:gd name="T14" fmla="*/ 0 w 316"/>
                  <a:gd name="T15" fmla="*/ 20 h 40"/>
                  <a:gd name="T16" fmla="*/ 2 w 316"/>
                  <a:gd name="T17" fmla="*/ 12 h 40"/>
                  <a:gd name="T18" fmla="*/ 7 w 316"/>
                  <a:gd name="T19" fmla="*/ 5 h 40"/>
                  <a:gd name="T20" fmla="*/ 13 w 316"/>
                  <a:gd name="T21" fmla="*/ 2 h 40"/>
                  <a:gd name="T22" fmla="*/ 20 w 316"/>
                  <a:gd name="T23" fmla="*/ 0 h 40"/>
                  <a:gd name="T24" fmla="*/ 296 w 316"/>
                  <a:gd name="T25" fmla="*/ 0 h 40"/>
                  <a:gd name="T26" fmla="*/ 296 w 316"/>
                  <a:gd name="T27" fmla="*/ 0 h 40"/>
                  <a:gd name="T28" fmla="*/ 304 w 316"/>
                  <a:gd name="T29" fmla="*/ 2 h 40"/>
                  <a:gd name="T30" fmla="*/ 311 w 316"/>
                  <a:gd name="T31" fmla="*/ 5 h 40"/>
                  <a:gd name="T32" fmla="*/ 314 w 316"/>
                  <a:gd name="T33" fmla="*/ 12 h 40"/>
                  <a:gd name="T34" fmla="*/ 316 w 316"/>
                  <a:gd name="T35" fmla="*/ 20 h 40"/>
                  <a:gd name="T36" fmla="*/ 316 w 316"/>
                  <a:gd name="T37" fmla="*/ 20 h 40"/>
                  <a:gd name="T38" fmla="*/ 314 w 316"/>
                  <a:gd name="T39" fmla="*/ 29 h 40"/>
                  <a:gd name="T40" fmla="*/ 311 w 316"/>
                  <a:gd name="T41" fmla="*/ 35 h 40"/>
                  <a:gd name="T42" fmla="*/ 304 w 316"/>
                  <a:gd name="T43" fmla="*/ 39 h 40"/>
                  <a:gd name="T44" fmla="*/ 296 w 316"/>
                  <a:gd name="T45" fmla="*/ 40 h 40"/>
                  <a:gd name="T46" fmla="*/ 296 w 316"/>
                  <a:gd name="T47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6" h="40">
                    <a:moveTo>
                      <a:pt x="296" y="40"/>
                    </a:moveTo>
                    <a:lnTo>
                      <a:pt x="20" y="40"/>
                    </a:lnTo>
                    <a:lnTo>
                      <a:pt x="20" y="40"/>
                    </a:lnTo>
                    <a:lnTo>
                      <a:pt x="13" y="39"/>
                    </a:lnTo>
                    <a:lnTo>
                      <a:pt x="7" y="35"/>
                    </a:lnTo>
                    <a:lnTo>
                      <a:pt x="2" y="29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12"/>
                    </a:lnTo>
                    <a:lnTo>
                      <a:pt x="7" y="5"/>
                    </a:lnTo>
                    <a:lnTo>
                      <a:pt x="13" y="2"/>
                    </a:lnTo>
                    <a:lnTo>
                      <a:pt x="20" y="0"/>
                    </a:lnTo>
                    <a:lnTo>
                      <a:pt x="296" y="0"/>
                    </a:lnTo>
                    <a:lnTo>
                      <a:pt x="296" y="0"/>
                    </a:lnTo>
                    <a:lnTo>
                      <a:pt x="304" y="2"/>
                    </a:lnTo>
                    <a:lnTo>
                      <a:pt x="311" y="5"/>
                    </a:lnTo>
                    <a:lnTo>
                      <a:pt x="314" y="12"/>
                    </a:lnTo>
                    <a:lnTo>
                      <a:pt x="316" y="20"/>
                    </a:lnTo>
                    <a:lnTo>
                      <a:pt x="316" y="20"/>
                    </a:lnTo>
                    <a:lnTo>
                      <a:pt x="314" y="29"/>
                    </a:lnTo>
                    <a:lnTo>
                      <a:pt x="311" y="35"/>
                    </a:lnTo>
                    <a:lnTo>
                      <a:pt x="304" y="39"/>
                    </a:lnTo>
                    <a:lnTo>
                      <a:pt x="296" y="40"/>
                    </a:lnTo>
                    <a:lnTo>
                      <a:pt x="296" y="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4" name="Freeform 99">
                <a:extLst>
                  <a:ext uri="{FF2B5EF4-FFF2-40B4-BE49-F238E27FC236}">
                    <a16:creationId xmlns:a16="http://schemas.microsoft.com/office/drawing/2014/main" id="{A79419F4-5F75-8E4D-8FF7-EBA31B870E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102" y="1928179"/>
                <a:ext cx="90518" cy="91595"/>
              </a:xfrm>
              <a:custGeom>
                <a:avLst/>
                <a:gdLst>
                  <a:gd name="T0" fmla="*/ 149 w 169"/>
                  <a:gd name="T1" fmla="*/ 0 h 171"/>
                  <a:gd name="T2" fmla="*/ 149 w 169"/>
                  <a:gd name="T3" fmla="*/ 0 h 171"/>
                  <a:gd name="T4" fmla="*/ 149 w 169"/>
                  <a:gd name="T5" fmla="*/ 0 h 171"/>
                  <a:gd name="T6" fmla="*/ 149 w 169"/>
                  <a:gd name="T7" fmla="*/ 0 h 171"/>
                  <a:gd name="T8" fmla="*/ 149 w 169"/>
                  <a:gd name="T9" fmla="*/ 0 h 171"/>
                  <a:gd name="T10" fmla="*/ 145 w 169"/>
                  <a:gd name="T11" fmla="*/ 0 h 171"/>
                  <a:gd name="T12" fmla="*/ 55 w 169"/>
                  <a:gd name="T13" fmla="*/ 0 h 171"/>
                  <a:gd name="T14" fmla="*/ 54 w 169"/>
                  <a:gd name="T15" fmla="*/ 0 h 171"/>
                  <a:gd name="T16" fmla="*/ 54 w 169"/>
                  <a:gd name="T17" fmla="*/ 0 h 171"/>
                  <a:gd name="T18" fmla="*/ 45 w 169"/>
                  <a:gd name="T19" fmla="*/ 2 h 171"/>
                  <a:gd name="T20" fmla="*/ 38 w 169"/>
                  <a:gd name="T21" fmla="*/ 5 h 171"/>
                  <a:gd name="T22" fmla="*/ 35 w 169"/>
                  <a:gd name="T23" fmla="*/ 12 h 171"/>
                  <a:gd name="T24" fmla="*/ 33 w 169"/>
                  <a:gd name="T25" fmla="*/ 20 h 171"/>
                  <a:gd name="T26" fmla="*/ 33 w 169"/>
                  <a:gd name="T27" fmla="*/ 20 h 171"/>
                  <a:gd name="T28" fmla="*/ 35 w 169"/>
                  <a:gd name="T29" fmla="*/ 29 h 171"/>
                  <a:gd name="T30" fmla="*/ 38 w 169"/>
                  <a:gd name="T31" fmla="*/ 35 h 171"/>
                  <a:gd name="T32" fmla="*/ 45 w 169"/>
                  <a:gd name="T33" fmla="*/ 39 h 171"/>
                  <a:gd name="T34" fmla="*/ 54 w 169"/>
                  <a:gd name="T35" fmla="*/ 40 h 171"/>
                  <a:gd name="T36" fmla="*/ 55 w 169"/>
                  <a:gd name="T37" fmla="*/ 40 h 171"/>
                  <a:gd name="T38" fmla="*/ 102 w 169"/>
                  <a:gd name="T39" fmla="*/ 40 h 171"/>
                  <a:gd name="T40" fmla="*/ 5 w 169"/>
                  <a:gd name="T41" fmla="*/ 136 h 171"/>
                  <a:gd name="T42" fmla="*/ 5 w 169"/>
                  <a:gd name="T43" fmla="*/ 136 h 171"/>
                  <a:gd name="T44" fmla="*/ 2 w 169"/>
                  <a:gd name="T45" fmla="*/ 142 h 171"/>
                  <a:gd name="T46" fmla="*/ 0 w 169"/>
                  <a:gd name="T47" fmla="*/ 151 h 171"/>
                  <a:gd name="T48" fmla="*/ 2 w 169"/>
                  <a:gd name="T49" fmla="*/ 159 h 171"/>
                  <a:gd name="T50" fmla="*/ 5 w 169"/>
                  <a:gd name="T51" fmla="*/ 166 h 171"/>
                  <a:gd name="T52" fmla="*/ 5 w 169"/>
                  <a:gd name="T53" fmla="*/ 166 h 171"/>
                  <a:gd name="T54" fmla="*/ 12 w 169"/>
                  <a:gd name="T55" fmla="*/ 169 h 171"/>
                  <a:gd name="T56" fmla="*/ 20 w 169"/>
                  <a:gd name="T57" fmla="*/ 171 h 171"/>
                  <a:gd name="T58" fmla="*/ 20 w 169"/>
                  <a:gd name="T59" fmla="*/ 171 h 171"/>
                  <a:gd name="T60" fmla="*/ 28 w 169"/>
                  <a:gd name="T61" fmla="*/ 169 h 171"/>
                  <a:gd name="T62" fmla="*/ 35 w 169"/>
                  <a:gd name="T63" fmla="*/ 166 h 171"/>
                  <a:gd name="T64" fmla="*/ 129 w 169"/>
                  <a:gd name="T65" fmla="*/ 70 h 171"/>
                  <a:gd name="T66" fmla="*/ 129 w 169"/>
                  <a:gd name="T67" fmla="*/ 112 h 171"/>
                  <a:gd name="T68" fmla="*/ 129 w 169"/>
                  <a:gd name="T69" fmla="*/ 112 h 171"/>
                  <a:gd name="T70" fmla="*/ 130 w 169"/>
                  <a:gd name="T71" fmla="*/ 121 h 171"/>
                  <a:gd name="T72" fmla="*/ 135 w 169"/>
                  <a:gd name="T73" fmla="*/ 127 h 171"/>
                  <a:gd name="T74" fmla="*/ 140 w 169"/>
                  <a:gd name="T75" fmla="*/ 132 h 171"/>
                  <a:gd name="T76" fmla="*/ 149 w 169"/>
                  <a:gd name="T77" fmla="*/ 134 h 171"/>
                  <a:gd name="T78" fmla="*/ 149 w 169"/>
                  <a:gd name="T79" fmla="*/ 134 h 171"/>
                  <a:gd name="T80" fmla="*/ 157 w 169"/>
                  <a:gd name="T81" fmla="*/ 132 h 171"/>
                  <a:gd name="T82" fmla="*/ 164 w 169"/>
                  <a:gd name="T83" fmla="*/ 127 h 171"/>
                  <a:gd name="T84" fmla="*/ 167 w 169"/>
                  <a:gd name="T85" fmla="*/ 121 h 171"/>
                  <a:gd name="T86" fmla="*/ 169 w 169"/>
                  <a:gd name="T87" fmla="*/ 112 h 171"/>
                  <a:gd name="T88" fmla="*/ 169 w 169"/>
                  <a:gd name="T89" fmla="*/ 20 h 171"/>
                  <a:gd name="T90" fmla="*/ 169 w 169"/>
                  <a:gd name="T91" fmla="*/ 20 h 171"/>
                  <a:gd name="T92" fmla="*/ 167 w 169"/>
                  <a:gd name="T93" fmla="*/ 12 h 171"/>
                  <a:gd name="T94" fmla="*/ 164 w 169"/>
                  <a:gd name="T95" fmla="*/ 5 h 171"/>
                  <a:gd name="T96" fmla="*/ 157 w 169"/>
                  <a:gd name="T97" fmla="*/ 2 h 171"/>
                  <a:gd name="T98" fmla="*/ 149 w 169"/>
                  <a:gd name="T99" fmla="*/ 0 h 171"/>
                  <a:gd name="T100" fmla="*/ 149 w 169"/>
                  <a:gd name="T101" fmla="*/ 0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9" h="171">
                    <a:moveTo>
                      <a:pt x="149" y="0"/>
                    </a:moveTo>
                    <a:lnTo>
                      <a:pt x="149" y="0"/>
                    </a:lnTo>
                    <a:lnTo>
                      <a:pt x="149" y="0"/>
                    </a:lnTo>
                    <a:lnTo>
                      <a:pt x="149" y="0"/>
                    </a:lnTo>
                    <a:lnTo>
                      <a:pt x="149" y="0"/>
                    </a:lnTo>
                    <a:lnTo>
                      <a:pt x="145" y="0"/>
                    </a:lnTo>
                    <a:lnTo>
                      <a:pt x="55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45" y="2"/>
                    </a:lnTo>
                    <a:lnTo>
                      <a:pt x="38" y="5"/>
                    </a:lnTo>
                    <a:lnTo>
                      <a:pt x="35" y="12"/>
                    </a:lnTo>
                    <a:lnTo>
                      <a:pt x="33" y="20"/>
                    </a:lnTo>
                    <a:lnTo>
                      <a:pt x="33" y="20"/>
                    </a:lnTo>
                    <a:lnTo>
                      <a:pt x="35" y="29"/>
                    </a:lnTo>
                    <a:lnTo>
                      <a:pt x="38" y="35"/>
                    </a:lnTo>
                    <a:lnTo>
                      <a:pt x="45" y="39"/>
                    </a:lnTo>
                    <a:lnTo>
                      <a:pt x="54" y="40"/>
                    </a:lnTo>
                    <a:lnTo>
                      <a:pt x="55" y="40"/>
                    </a:lnTo>
                    <a:lnTo>
                      <a:pt x="102" y="40"/>
                    </a:lnTo>
                    <a:lnTo>
                      <a:pt x="5" y="136"/>
                    </a:lnTo>
                    <a:lnTo>
                      <a:pt x="5" y="136"/>
                    </a:lnTo>
                    <a:lnTo>
                      <a:pt x="2" y="142"/>
                    </a:lnTo>
                    <a:lnTo>
                      <a:pt x="0" y="151"/>
                    </a:lnTo>
                    <a:lnTo>
                      <a:pt x="2" y="159"/>
                    </a:lnTo>
                    <a:lnTo>
                      <a:pt x="5" y="166"/>
                    </a:lnTo>
                    <a:lnTo>
                      <a:pt x="5" y="166"/>
                    </a:lnTo>
                    <a:lnTo>
                      <a:pt x="12" y="169"/>
                    </a:lnTo>
                    <a:lnTo>
                      <a:pt x="20" y="171"/>
                    </a:lnTo>
                    <a:lnTo>
                      <a:pt x="20" y="171"/>
                    </a:lnTo>
                    <a:lnTo>
                      <a:pt x="28" y="169"/>
                    </a:lnTo>
                    <a:lnTo>
                      <a:pt x="35" y="166"/>
                    </a:lnTo>
                    <a:lnTo>
                      <a:pt x="129" y="70"/>
                    </a:lnTo>
                    <a:lnTo>
                      <a:pt x="129" y="112"/>
                    </a:lnTo>
                    <a:lnTo>
                      <a:pt x="129" y="112"/>
                    </a:lnTo>
                    <a:lnTo>
                      <a:pt x="130" y="121"/>
                    </a:lnTo>
                    <a:lnTo>
                      <a:pt x="135" y="127"/>
                    </a:lnTo>
                    <a:lnTo>
                      <a:pt x="140" y="132"/>
                    </a:lnTo>
                    <a:lnTo>
                      <a:pt x="149" y="134"/>
                    </a:lnTo>
                    <a:lnTo>
                      <a:pt x="149" y="134"/>
                    </a:lnTo>
                    <a:lnTo>
                      <a:pt x="157" y="132"/>
                    </a:lnTo>
                    <a:lnTo>
                      <a:pt x="164" y="127"/>
                    </a:lnTo>
                    <a:lnTo>
                      <a:pt x="167" y="121"/>
                    </a:lnTo>
                    <a:lnTo>
                      <a:pt x="169" y="112"/>
                    </a:lnTo>
                    <a:lnTo>
                      <a:pt x="169" y="20"/>
                    </a:lnTo>
                    <a:lnTo>
                      <a:pt x="169" y="20"/>
                    </a:lnTo>
                    <a:lnTo>
                      <a:pt x="167" y="12"/>
                    </a:lnTo>
                    <a:lnTo>
                      <a:pt x="164" y="5"/>
                    </a:lnTo>
                    <a:lnTo>
                      <a:pt x="157" y="2"/>
                    </a:lnTo>
                    <a:lnTo>
                      <a:pt x="149" y="0"/>
                    </a:lnTo>
                    <a:lnTo>
                      <a:pt x="14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5" name="Freeform 100">
                <a:extLst>
                  <a:ext uri="{FF2B5EF4-FFF2-40B4-BE49-F238E27FC236}">
                    <a16:creationId xmlns:a16="http://schemas.microsoft.com/office/drawing/2014/main" id="{DBC86963-7DF4-D445-9769-F40DEE65D5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5488" y="1866756"/>
                <a:ext cx="396554" cy="279097"/>
              </a:xfrm>
              <a:custGeom>
                <a:avLst/>
                <a:gdLst>
                  <a:gd name="T0" fmla="*/ 82 w 736"/>
                  <a:gd name="T1" fmla="*/ 0 h 519"/>
                  <a:gd name="T2" fmla="*/ 65 w 736"/>
                  <a:gd name="T3" fmla="*/ 2 h 519"/>
                  <a:gd name="T4" fmla="*/ 37 w 736"/>
                  <a:gd name="T5" fmla="*/ 16 h 519"/>
                  <a:gd name="T6" fmla="*/ 13 w 736"/>
                  <a:gd name="T7" fmla="*/ 37 h 519"/>
                  <a:gd name="T8" fmla="*/ 2 w 736"/>
                  <a:gd name="T9" fmla="*/ 66 h 519"/>
                  <a:gd name="T10" fmla="*/ 0 w 736"/>
                  <a:gd name="T11" fmla="*/ 437 h 519"/>
                  <a:gd name="T12" fmla="*/ 2 w 736"/>
                  <a:gd name="T13" fmla="*/ 454 h 519"/>
                  <a:gd name="T14" fmla="*/ 13 w 736"/>
                  <a:gd name="T15" fmla="*/ 484 h 519"/>
                  <a:gd name="T16" fmla="*/ 37 w 736"/>
                  <a:gd name="T17" fmla="*/ 505 h 519"/>
                  <a:gd name="T18" fmla="*/ 65 w 736"/>
                  <a:gd name="T19" fmla="*/ 517 h 519"/>
                  <a:gd name="T20" fmla="*/ 654 w 736"/>
                  <a:gd name="T21" fmla="*/ 519 h 519"/>
                  <a:gd name="T22" fmla="*/ 669 w 736"/>
                  <a:gd name="T23" fmla="*/ 517 h 519"/>
                  <a:gd name="T24" fmla="*/ 699 w 736"/>
                  <a:gd name="T25" fmla="*/ 505 h 519"/>
                  <a:gd name="T26" fmla="*/ 721 w 736"/>
                  <a:gd name="T27" fmla="*/ 484 h 519"/>
                  <a:gd name="T28" fmla="*/ 734 w 736"/>
                  <a:gd name="T29" fmla="*/ 454 h 519"/>
                  <a:gd name="T30" fmla="*/ 736 w 736"/>
                  <a:gd name="T31" fmla="*/ 82 h 519"/>
                  <a:gd name="T32" fmla="*/ 734 w 736"/>
                  <a:gd name="T33" fmla="*/ 66 h 519"/>
                  <a:gd name="T34" fmla="*/ 721 w 736"/>
                  <a:gd name="T35" fmla="*/ 37 h 519"/>
                  <a:gd name="T36" fmla="*/ 699 w 736"/>
                  <a:gd name="T37" fmla="*/ 16 h 519"/>
                  <a:gd name="T38" fmla="*/ 669 w 736"/>
                  <a:gd name="T39" fmla="*/ 2 h 519"/>
                  <a:gd name="T40" fmla="*/ 654 w 736"/>
                  <a:gd name="T41" fmla="*/ 0 h 519"/>
                  <a:gd name="T42" fmla="*/ 694 w 736"/>
                  <a:gd name="T43" fmla="*/ 437 h 519"/>
                  <a:gd name="T44" fmla="*/ 690 w 736"/>
                  <a:gd name="T45" fmla="*/ 454 h 519"/>
                  <a:gd name="T46" fmla="*/ 682 w 736"/>
                  <a:gd name="T47" fmla="*/ 467 h 519"/>
                  <a:gd name="T48" fmla="*/ 669 w 736"/>
                  <a:gd name="T49" fmla="*/ 475 h 519"/>
                  <a:gd name="T50" fmla="*/ 654 w 736"/>
                  <a:gd name="T51" fmla="*/ 479 h 519"/>
                  <a:gd name="T52" fmla="*/ 82 w 736"/>
                  <a:gd name="T53" fmla="*/ 479 h 519"/>
                  <a:gd name="T54" fmla="*/ 65 w 736"/>
                  <a:gd name="T55" fmla="*/ 475 h 519"/>
                  <a:gd name="T56" fmla="*/ 53 w 736"/>
                  <a:gd name="T57" fmla="*/ 467 h 519"/>
                  <a:gd name="T58" fmla="*/ 43 w 736"/>
                  <a:gd name="T59" fmla="*/ 454 h 519"/>
                  <a:gd name="T60" fmla="*/ 40 w 736"/>
                  <a:gd name="T61" fmla="*/ 437 h 519"/>
                  <a:gd name="T62" fmla="*/ 40 w 736"/>
                  <a:gd name="T63" fmla="*/ 82 h 519"/>
                  <a:gd name="T64" fmla="*/ 43 w 736"/>
                  <a:gd name="T65" fmla="*/ 67 h 519"/>
                  <a:gd name="T66" fmla="*/ 53 w 736"/>
                  <a:gd name="T67" fmla="*/ 54 h 519"/>
                  <a:gd name="T68" fmla="*/ 65 w 736"/>
                  <a:gd name="T69" fmla="*/ 46 h 519"/>
                  <a:gd name="T70" fmla="*/ 82 w 736"/>
                  <a:gd name="T71" fmla="*/ 42 h 519"/>
                  <a:gd name="T72" fmla="*/ 654 w 736"/>
                  <a:gd name="T73" fmla="*/ 42 h 519"/>
                  <a:gd name="T74" fmla="*/ 669 w 736"/>
                  <a:gd name="T75" fmla="*/ 46 h 519"/>
                  <a:gd name="T76" fmla="*/ 682 w 736"/>
                  <a:gd name="T77" fmla="*/ 54 h 519"/>
                  <a:gd name="T78" fmla="*/ 690 w 736"/>
                  <a:gd name="T79" fmla="*/ 67 h 519"/>
                  <a:gd name="T80" fmla="*/ 694 w 736"/>
                  <a:gd name="T81" fmla="*/ 82 h 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736" h="519">
                    <a:moveTo>
                      <a:pt x="654" y="0"/>
                    </a:moveTo>
                    <a:lnTo>
                      <a:pt x="82" y="0"/>
                    </a:lnTo>
                    <a:lnTo>
                      <a:pt x="82" y="0"/>
                    </a:lnTo>
                    <a:lnTo>
                      <a:pt x="65" y="2"/>
                    </a:lnTo>
                    <a:lnTo>
                      <a:pt x="50" y="7"/>
                    </a:lnTo>
                    <a:lnTo>
                      <a:pt x="37" y="16"/>
                    </a:lnTo>
                    <a:lnTo>
                      <a:pt x="23" y="26"/>
                    </a:lnTo>
                    <a:lnTo>
                      <a:pt x="13" y="37"/>
                    </a:lnTo>
                    <a:lnTo>
                      <a:pt x="7" y="51"/>
                    </a:lnTo>
                    <a:lnTo>
                      <a:pt x="2" y="66"/>
                    </a:lnTo>
                    <a:lnTo>
                      <a:pt x="0" y="82"/>
                    </a:lnTo>
                    <a:lnTo>
                      <a:pt x="0" y="437"/>
                    </a:lnTo>
                    <a:lnTo>
                      <a:pt x="0" y="437"/>
                    </a:lnTo>
                    <a:lnTo>
                      <a:pt x="2" y="454"/>
                    </a:lnTo>
                    <a:lnTo>
                      <a:pt x="7" y="469"/>
                    </a:lnTo>
                    <a:lnTo>
                      <a:pt x="13" y="484"/>
                    </a:lnTo>
                    <a:lnTo>
                      <a:pt x="23" y="495"/>
                    </a:lnTo>
                    <a:lnTo>
                      <a:pt x="37" y="505"/>
                    </a:lnTo>
                    <a:lnTo>
                      <a:pt x="50" y="512"/>
                    </a:lnTo>
                    <a:lnTo>
                      <a:pt x="65" y="517"/>
                    </a:lnTo>
                    <a:lnTo>
                      <a:pt x="82" y="519"/>
                    </a:lnTo>
                    <a:lnTo>
                      <a:pt x="654" y="519"/>
                    </a:lnTo>
                    <a:lnTo>
                      <a:pt x="654" y="519"/>
                    </a:lnTo>
                    <a:lnTo>
                      <a:pt x="669" y="517"/>
                    </a:lnTo>
                    <a:lnTo>
                      <a:pt x="685" y="512"/>
                    </a:lnTo>
                    <a:lnTo>
                      <a:pt x="699" y="505"/>
                    </a:lnTo>
                    <a:lnTo>
                      <a:pt x="710" y="495"/>
                    </a:lnTo>
                    <a:lnTo>
                      <a:pt x="721" y="484"/>
                    </a:lnTo>
                    <a:lnTo>
                      <a:pt x="729" y="469"/>
                    </a:lnTo>
                    <a:lnTo>
                      <a:pt x="734" y="454"/>
                    </a:lnTo>
                    <a:lnTo>
                      <a:pt x="736" y="437"/>
                    </a:lnTo>
                    <a:lnTo>
                      <a:pt x="736" y="82"/>
                    </a:lnTo>
                    <a:lnTo>
                      <a:pt x="736" y="82"/>
                    </a:lnTo>
                    <a:lnTo>
                      <a:pt x="734" y="66"/>
                    </a:lnTo>
                    <a:lnTo>
                      <a:pt x="729" y="51"/>
                    </a:lnTo>
                    <a:lnTo>
                      <a:pt x="721" y="37"/>
                    </a:lnTo>
                    <a:lnTo>
                      <a:pt x="710" y="26"/>
                    </a:lnTo>
                    <a:lnTo>
                      <a:pt x="699" y="16"/>
                    </a:lnTo>
                    <a:lnTo>
                      <a:pt x="685" y="7"/>
                    </a:lnTo>
                    <a:lnTo>
                      <a:pt x="669" y="2"/>
                    </a:lnTo>
                    <a:lnTo>
                      <a:pt x="654" y="0"/>
                    </a:lnTo>
                    <a:lnTo>
                      <a:pt x="654" y="0"/>
                    </a:lnTo>
                    <a:close/>
                    <a:moveTo>
                      <a:pt x="694" y="437"/>
                    </a:moveTo>
                    <a:lnTo>
                      <a:pt x="694" y="437"/>
                    </a:lnTo>
                    <a:lnTo>
                      <a:pt x="694" y="445"/>
                    </a:lnTo>
                    <a:lnTo>
                      <a:pt x="690" y="454"/>
                    </a:lnTo>
                    <a:lnTo>
                      <a:pt x="687" y="460"/>
                    </a:lnTo>
                    <a:lnTo>
                      <a:pt x="682" y="467"/>
                    </a:lnTo>
                    <a:lnTo>
                      <a:pt x="675" y="472"/>
                    </a:lnTo>
                    <a:lnTo>
                      <a:pt x="669" y="475"/>
                    </a:lnTo>
                    <a:lnTo>
                      <a:pt x="662" y="477"/>
                    </a:lnTo>
                    <a:lnTo>
                      <a:pt x="654" y="479"/>
                    </a:lnTo>
                    <a:lnTo>
                      <a:pt x="82" y="479"/>
                    </a:lnTo>
                    <a:lnTo>
                      <a:pt x="82" y="479"/>
                    </a:lnTo>
                    <a:lnTo>
                      <a:pt x="74" y="477"/>
                    </a:lnTo>
                    <a:lnTo>
                      <a:pt x="65" y="475"/>
                    </a:lnTo>
                    <a:lnTo>
                      <a:pt x="59" y="472"/>
                    </a:lnTo>
                    <a:lnTo>
                      <a:pt x="53" y="467"/>
                    </a:lnTo>
                    <a:lnTo>
                      <a:pt x="48" y="460"/>
                    </a:lnTo>
                    <a:lnTo>
                      <a:pt x="43" y="454"/>
                    </a:lnTo>
                    <a:lnTo>
                      <a:pt x="42" y="445"/>
                    </a:lnTo>
                    <a:lnTo>
                      <a:pt x="40" y="437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2" y="74"/>
                    </a:lnTo>
                    <a:lnTo>
                      <a:pt x="43" y="67"/>
                    </a:lnTo>
                    <a:lnTo>
                      <a:pt x="48" y="61"/>
                    </a:lnTo>
                    <a:lnTo>
                      <a:pt x="53" y="54"/>
                    </a:lnTo>
                    <a:lnTo>
                      <a:pt x="59" y="49"/>
                    </a:lnTo>
                    <a:lnTo>
                      <a:pt x="65" y="46"/>
                    </a:lnTo>
                    <a:lnTo>
                      <a:pt x="74" y="42"/>
                    </a:lnTo>
                    <a:lnTo>
                      <a:pt x="82" y="42"/>
                    </a:lnTo>
                    <a:lnTo>
                      <a:pt x="654" y="42"/>
                    </a:lnTo>
                    <a:lnTo>
                      <a:pt x="654" y="42"/>
                    </a:lnTo>
                    <a:lnTo>
                      <a:pt x="662" y="42"/>
                    </a:lnTo>
                    <a:lnTo>
                      <a:pt x="669" y="46"/>
                    </a:lnTo>
                    <a:lnTo>
                      <a:pt x="675" y="49"/>
                    </a:lnTo>
                    <a:lnTo>
                      <a:pt x="682" y="54"/>
                    </a:lnTo>
                    <a:lnTo>
                      <a:pt x="687" y="61"/>
                    </a:lnTo>
                    <a:lnTo>
                      <a:pt x="690" y="67"/>
                    </a:lnTo>
                    <a:lnTo>
                      <a:pt x="694" y="74"/>
                    </a:lnTo>
                    <a:lnTo>
                      <a:pt x="694" y="82"/>
                    </a:lnTo>
                    <a:lnTo>
                      <a:pt x="694" y="4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09BA4F7-1B12-D248-B0E0-ED6FAC5F2B11}"/>
              </a:ext>
            </a:extLst>
          </p:cNvPr>
          <p:cNvGrpSpPr/>
          <p:nvPr/>
        </p:nvGrpSpPr>
        <p:grpSpPr>
          <a:xfrm>
            <a:off x="144413" y="1367879"/>
            <a:ext cx="3600400" cy="766013"/>
            <a:chOff x="360437" y="647799"/>
            <a:chExt cx="3600400" cy="766013"/>
          </a:xfrm>
        </p:grpSpPr>
        <p:sp>
          <p:nvSpPr>
            <p:cNvPr id="156" name="Rechteck 14">
              <a:extLst>
                <a:ext uri="{FF2B5EF4-FFF2-40B4-BE49-F238E27FC236}">
                  <a16:creationId xmlns:a16="http://schemas.microsoft.com/office/drawing/2014/main" id="{C3B189D3-1668-A442-800B-D6BC1B50E4F1}"/>
                </a:ext>
              </a:extLst>
            </p:cNvPr>
            <p:cNvSpPr/>
            <p:nvPr/>
          </p:nvSpPr>
          <p:spPr bwMode="gray">
            <a:xfrm>
              <a:off x="360437" y="647799"/>
              <a:ext cx="3600400" cy="766013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l">
                <a:buClr>
                  <a:srgbClr val="9B9B9B"/>
                </a:buClr>
              </a:pPr>
              <a:r>
                <a:rPr lang="en-US" sz="2800" b="1" dirty="0"/>
                <a:t>130</a:t>
              </a:r>
              <a:r>
                <a:rPr lang="en-US" sz="3600" b="1" dirty="0"/>
                <a:t> </a:t>
              </a:r>
              <a:r>
                <a:rPr lang="en-US" dirty="0">
                  <a:solidFill>
                    <a:schemeClr val="bg1"/>
                  </a:solidFill>
                </a:rPr>
                <a:t>staff</a:t>
              </a:r>
              <a:r>
                <a:rPr lang="en-US" sz="5400" b="1" dirty="0">
                  <a:solidFill>
                    <a:schemeClr val="bg1"/>
                  </a:solidFill>
                </a:rPr>
                <a:t> </a:t>
              </a:r>
              <a:r>
                <a:rPr lang="en-US" dirty="0">
                  <a:solidFill>
                    <a:schemeClr val="bg1"/>
                  </a:solidFill>
                </a:rPr>
                <a:t>trained</a:t>
              </a:r>
              <a:endParaRPr lang="de-DE" sz="1800" dirty="0">
                <a:solidFill>
                  <a:schemeClr val="bg1"/>
                </a:solidFill>
              </a:endParaRPr>
            </a:p>
          </p:txBody>
        </p: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E404325C-A793-C64A-A1AE-2BC3DFC73D3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952725" y="673953"/>
              <a:ext cx="866352" cy="693926"/>
              <a:chOff x="4448471" y="2305880"/>
              <a:chExt cx="325665" cy="347852"/>
            </a:xfrm>
            <a:solidFill>
              <a:schemeClr val="tx1"/>
            </a:solidFill>
          </p:grpSpPr>
          <p:sp>
            <p:nvSpPr>
              <p:cNvPr id="158" name="Freeform 187">
                <a:extLst>
                  <a:ext uri="{FF2B5EF4-FFF2-40B4-BE49-F238E27FC236}">
                    <a16:creationId xmlns:a16="http://schemas.microsoft.com/office/drawing/2014/main" id="{D3526729-BD55-A743-B36A-968A243CA6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5331" y="2305880"/>
                <a:ext cx="70521" cy="70521"/>
              </a:xfrm>
              <a:custGeom>
                <a:avLst/>
                <a:gdLst>
                  <a:gd name="T0" fmla="*/ 89 w 178"/>
                  <a:gd name="T1" fmla="*/ 179 h 179"/>
                  <a:gd name="T2" fmla="*/ 119 w 178"/>
                  <a:gd name="T3" fmla="*/ 173 h 179"/>
                  <a:gd name="T4" fmla="*/ 146 w 178"/>
                  <a:gd name="T5" fmla="*/ 156 h 179"/>
                  <a:gd name="T6" fmla="*/ 159 w 178"/>
                  <a:gd name="T7" fmla="*/ 143 h 179"/>
                  <a:gd name="T8" fmla="*/ 174 w 178"/>
                  <a:gd name="T9" fmla="*/ 114 h 179"/>
                  <a:gd name="T10" fmla="*/ 178 w 178"/>
                  <a:gd name="T11" fmla="*/ 80 h 179"/>
                  <a:gd name="T12" fmla="*/ 167 w 178"/>
                  <a:gd name="T13" fmla="*/ 47 h 179"/>
                  <a:gd name="T14" fmla="*/ 158 w 178"/>
                  <a:gd name="T15" fmla="*/ 32 h 179"/>
                  <a:gd name="T16" fmla="*/ 130 w 178"/>
                  <a:gd name="T17" fmla="*/ 10 h 179"/>
                  <a:gd name="T18" fmla="*/ 96 w 178"/>
                  <a:gd name="T19" fmla="*/ 0 h 179"/>
                  <a:gd name="T20" fmla="*/ 63 w 178"/>
                  <a:gd name="T21" fmla="*/ 4 h 179"/>
                  <a:gd name="T22" fmla="*/ 31 w 178"/>
                  <a:gd name="T23" fmla="*/ 21 h 179"/>
                  <a:gd name="T24" fmla="*/ 18 w 178"/>
                  <a:gd name="T25" fmla="*/ 34 h 179"/>
                  <a:gd name="T26" fmla="*/ 4 w 178"/>
                  <a:gd name="T27" fmla="*/ 65 h 179"/>
                  <a:gd name="T28" fmla="*/ 0 w 178"/>
                  <a:gd name="T29" fmla="*/ 99 h 179"/>
                  <a:gd name="T30" fmla="*/ 11 w 178"/>
                  <a:gd name="T31" fmla="*/ 132 h 179"/>
                  <a:gd name="T32" fmla="*/ 20 w 178"/>
                  <a:gd name="T33" fmla="*/ 147 h 179"/>
                  <a:gd name="T34" fmla="*/ 35 w 178"/>
                  <a:gd name="T35" fmla="*/ 160 h 179"/>
                  <a:gd name="T36" fmla="*/ 70 w 178"/>
                  <a:gd name="T37" fmla="*/ 177 h 179"/>
                  <a:gd name="T38" fmla="*/ 89 w 178"/>
                  <a:gd name="T39" fmla="*/ 179 h 179"/>
                  <a:gd name="T40" fmla="*/ 57 w 178"/>
                  <a:gd name="T41" fmla="*/ 52 h 179"/>
                  <a:gd name="T42" fmla="*/ 72 w 178"/>
                  <a:gd name="T43" fmla="*/ 43 h 179"/>
                  <a:gd name="T44" fmla="*/ 89 w 178"/>
                  <a:gd name="T45" fmla="*/ 39 h 179"/>
                  <a:gd name="T46" fmla="*/ 100 w 178"/>
                  <a:gd name="T47" fmla="*/ 41 h 179"/>
                  <a:gd name="T48" fmla="*/ 119 w 178"/>
                  <a:gd name="T49" fmla="*/ 51 h 179"/>
                  <a:gd name="T50" fmla="*/ 126 w 178"/>
                  <a:gd name="T51" fmla="*/ 58 h 179"/>
                  <a:gd name="T52" fmla="*/ 135 w 178"/>
                  <a:gd name="T53" fmla="*/ 75 h 179"/>
                  <a:gd name="T54" fmla="*/ 139 w 178"/>
                  <a:gd name="T55" fmla="*/ 93 h 179"/>
                  <a:gd name="T56" fmla="*/ 133 w 178"/>
                  <a:gd name="T57" fmla="*/ 112 h 179"/>
                  <a:gd name="T58" fmla="*/ 121 w 178"/>
                  <a:gd name="T59" fmla="*/ 127 h 179"/>
                  <a:gd name="T60" fmla="*/ 113 w 178"/>
                  <a:gd name="T61" fmla="*/ 132 h 179"/>
                  <a:gd name="T62" fmla="*/ 95 w 178"/>
                  <a:gd name="T63" fmla="*/ 138 h 179"/>
                  <a:gd name="T64" fmla="*/ 76 w 178"/>
                  <a:gd name="T65" fmla="*/ 136 h 179"/>
                  <a:gd name="T66" fmla="*/ 59 w 178"/>
                  <a:gd name="T67" fmla="*/ 129 h 179"/>
                  <a:gd name="T68" fmla="*/ 52 w 178"/>
                  <a:gd name="T69" fmla="*/ 121 h 179"/>
                  <a:gd name="T70" fmla="*/ 43 w 178"/>
                  <a:gd name="T71" fmla="*/ 104 h 179"/>
                  <a:gd name="T72" fmla="*/ 39 w 178"/>
                  <a:gd name="T73" fmla="*/ 86 h 179"/>
                  <a:gd name="T74" fmla="*/ 44 w 178"/>
                  <a:gd name="T75" fmla="*/ 67 h 179"/>
                  <a:gd name="T76" fmla="*/ 57 w 178"/>
                  <a:gd name="T77" fmla="*/ 52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78" h="179">
                    <a:moveTo>
                      <a:pt x="89" y="179"/>
                    </a:moveTo>
                    <a:lnTo>
                      <a:pt x="89" y="179"/>
                    </a:lnTo>
                    <a:lnTo>
                      <a:pt x="104" y="177"/>
                    </a:lnTo>
                    <a:lnTo>
                      <a:pt x="119" y="173"/>
                    </a:lnTo>
                    <a:lnTo>
                      <a:pt x="133" y="166"/>
                    </a:lnTo>
                    <a:lnTo>
                      <a:pt x="146" y="156"/>
                    </a:lnTo>
                    <a:lnTo>
                      <a:pt x="146" y="156"/>
                    </a:lnTo>
                    <a:lnTo>
                      <a:pt x="159" y="143"/>
                    </a:lnTo>
                    <a:lnTo>
                      <a:pt x="169" y="130"/>
                    </a:lnTo>
                    <a:lnTo>
                      <a:pt x="174" y="114"/>
                    </a:lnTo>
                    <a:lnTo>
                      <a:pt x="178" y="97"/>
                    </a:lnTo>
                    <a:lnTo>
                      <a:pt x="178" y="80"/>
                    </a:lnTo>
                    <a:lnTo>
                      <a:pt x="174" y="64"/>
                    </a:lnTo>
                    <a:lnTo>
                      <a:pt x="167" y="47"/>
                    </a:lnTo>
                    <a:lnTo>
                      <a:pt x="158" y="32"/>
                    </a:lnTo>
                    <a:lnTo>
                      <a:pt x="158" y="32"/>
                    </a:lnTo>
                    <a:lnTo>
                      <a:pt x="145" y="19"/>
                    </a:lnTo>
                    <a:lnTo>
                      <a:pt x="130" y="10"/>
                    </a:lnTo>
                    <a:lnTo>
                      <a:pt x="113" y="4"/>
                    </a:lnTo>
                    <a:lnTo>
                      <a:pt x="96" y="0"/>
                    </a:lnTo>
                    <a:lnTo>
                      <a:pt x="80" y="0"/>
                    </a:lnTo>
                    <a:lnTo>
                      <a:pt x="63" y="4"/>
                    </a:lnTo>
                    <a:lnTo>
                      <a:pt x="46" y="12"/>
                    </a:lnTo>
                    <a:lnTo>
                      <a:pt x="31" y="21"/>
                    </a:lnTo>
                    <a:lnTo>
                      <a:pt x="31" y="21"/>
                    </a:lnTo>
                    <a:lnTo>
                      <a:pt x="18" y="34"/>
                    </a:lnTo>
                    <a:lnTo>
                      <a:pt x="9" y="49"/>
                    </a:lnTo>
                    <a:lnTo>
                      <a:pt x="4" y="65"/>
                    </a:lnTo>
                    <a:lnTo>
                      <a:pt x="0" y="82"/>
                    </a:lnTo>
                    <a:lnTo>
                      <a:pt x="0" y="99"/>
                    </a:lnTo>
                    <a:lnTo>
                      <a:pt x="4" y="116"/>
                    </a:lnTo>
                    <a:lnTo>
                      <a:pt x="11" y="132"/>
                    </a:lnTo>
                    <a:lnTo>
                      <a:pt x="20" y="147"/>
                    </a:lnTo>
                    <a:lnTo>
                      <a:pt x="20" y="147"/>
                    </a:lnTo>
                    <a:lnTo>
                      <a:pt x="28" y="155"/>
                    </a:lnTo>
                    <a:lnTo>
                      <a:pt x="35" y="160"/>
                    </a:lnTo>
                    <a:lnTo>
                      <a:pt x="52" y="169"/>
                    </a:lnTo>
                    <a:lnTo>
                      <a:pt x="70" y="177"/>
                    </a:lnTo>
                    <a:lnTo>
                      <a:pt x="89" y="179"/>
                    </a:lnTo>
                    <a:lnTo>
                      <a:pt x="89" y="179"/>
                    </a:lnTo>
                    <a:close/>
                    <a:moveTo>
                      <a:pt x="57" y="52"/>
                    </a:moveTo>
                    <a:lnTo>
                      <a:pt x="57" y="52"/>
                    </a:lnTo>
                    <a:lnTo>
                      <a:pt x="65" y="47"/>
                    </a:lnTo>
                    <a:lnTo>
                      <a:pt x="72" y="43"/>
                    </a:lnTo>
                    <a:lnTo>
                      <a:pt x="80" y="41"/>
                    </a:lnTo>
                    <a:lnTo>
                      <a:pt x="89" y="39"/>
                    </a:lnTo>
                    <a:lnTo>
                      <a:pt x="89" y="39"/>
                    </a:lnTo>
                    <a:lnTo>
                      <a:pt x="100" y="41"/>
                    </a:lnTo>
                    <a:lnTo>
                      <a:pt x="109" y="45"/>
                    </a:lnTo>
                    <a:lnTo>
                      <a:pt x="119" y="51"/>
                    </a:lnTo>
                    <a:lnTo>
                      <a:pt x="126" y="58"/>
                    </a:lnTo>
                    <a:lnTo>
                      <a:pt x="126" y="58"/>
                    </a:lnTo>
                    <a:lnTo>
                      <a:pt x="132" y="65"/>
                    </a:lnTo>
                    <a:lnTo>
                      <a:pt x="135" y="75"/>
                    </a:lnTo>
                    <a:lnTo>
                      <a:pt x="137" y="84"/>
                    </a:lnTo>
                    <a:lnTo>
                      <a:pt x="139" y="93"/>
                    </a:lnTo>
                    <a:lnTo>
                      <a:pt x="137" y="103"/>
                    </a:lnTo>
                    <a:lnTo>
                      <a:pt x="133" y="112"/>
                    </a:lnTo>
                    <a:lnTo>
                      <a:pt x="128" y="119"/>
                    </a:lnTo>
                    <a:lnTo>
                      <a:pt x="121" y="127"/>
                    </a:lnTo>
                    <a:lnTo>
                      <a:pt x="121" y="127"/>
                    </a:lnTo>
                    <a:lnTo>
                      <a:pt x="113" y="132"/>
                    </a:lnTo>
                    <a:lnTo>
                      <a:pt x="104" y="136"/>
                    </a:lnTo>
                    <a:lnTo>
                      <a:pt x="95" y="138"/>
                    </a:lnTo>
                    <a:lnTo>
                      <a:pt x="85" y="138"/>
                    </a:lnTo>
                    <a:lnTo>
                      <a:pt x="76" y="136"/>
                    </a:lnTo>
                    <a:lnTo>
                      <a:pt x="67" y="134"/>
                    </a:lnTo>
                    <a:lnTo>
                      <a:pt x="59" y="129"/>
                    </a:lnTo>
                    <a:lnTo>
                      <a:pt x="52" y="121"/>
                    </a:lnTo>
                    <a:lnTo>
                      <a:pt x="52" y="121"/>
                    </a:lnTo>
                    <a:lnTo>
                      <a:pt x="46" y="114"/>
                    </a:lnTo>
                    <a:lnTo>
                      <a:pt x="43" y="104"/>
                    </a:lnTo>
                    <a:lnTo>
                      <a:pt x="41" y="95"/>
                    </a:lnTo>
                    <a:lnTo>
                      <a:pt x="39" y="86"/>
                    </a:lnTo>
                    <a:lnTo>
                      <a:pt x="41" y="77"/>
                    </a:lnTo>
                    <a:lnTo>
                      <a:pt x="44" y="67"/>
                    </a:lnTo>
                    <a:lnTo>
                      <a:pt x="50" y="58"/>
                    </a:lnTo>
                    <a:lnTo>
                      <a:pt x="57" y="52"/>
                    </a:lnTo>
                    <a:lnTo>
                      <a:pt x="57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9" name="Freeform 188">
                <a:extLst>
                  <a:ext uri="{FF2B5EF4-FFF2-40B4-BE49-F238E27FC236}">
                    <a16:creationId xmlns:a16="http://schemas.microsoft.com/office/drawing/2014/main" id="{763B67CC-5116-0F45-BED5-0283E15337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8471" y="2381156"/>
                <a:ext cx="325665" cy="272576"/>
              </a:xfrm>
              <a:custGeom>
                <a:avLst/>
                <a:gdLst>
                  <a:gd name="T0" fmla="*/ 763 w 820"/>
                  <a:gd name="T1" fmla="*/ 70 h 688"/>
                  <a:gd name="T2" fmla="*/ 765 w 820"/>
                  <a:gd name="T3" fmla="*/ 61 h 688"/>
                  <a:gd name="T4" fmla="*/ 761 w 820"/>
                  <a:gd name="T5" fmla="*/ 52 h 688"/>
                  <a:gd name="T6" fmla="*/ 750 w 820"/>
                  <a:gd name="T7" fmla="*/ 44 h 688"/>
                  <a:gd name="T8" fmla="*/ 432 w 820"/>
                  <a:gd name="T9" fmla="*/ 44 h 688"/>
                  <a:gd name="T10" fmla="*/ 417 w 820"/>
                  <a:gd name="T11" fmla="*/ 52 h 688"/>
                  <a:gd name="T12" fmla="*/ 410 w 820"/>
                  <a:gd name="T13" fmla="*/ 182 h 688"/>
                  <a:gd name="T14" fmla="*/ 651 w 820"/>
                  <a:gd name="T15" fmla="*/ 271 h 688"/>
                  <a:gd name="T16" fmla="*/ 310 w 820"/>
                  <a:gd name="T17" fmla="*/ 197 h 688"/>
                  <a:gd name="T18" fmla="*/ 299 w 820"/>
                  <a:gd name="T19" fmla="*/ 146 h 688"/>
                  <a:gd name="T20" fmla="*/ 267 w 820"/>
                  <a:gd name="T21" fmla="*/ 43 h 688"/>
                  <a:gd name="T22" fmla="*/ 243 w 820"/>
                  <a:gd name="T23" fmla="*/ 9 h 688"/>
                  <a:gd name="T24" fmla="*/ 230 w 820"/>
                  <a:gd name="T25" fmla="*/ 4 h 688"/>
                  <a:gd name="T26" fmla="*/ 187 w 820"/>
                  <a:gd name="T27" fmla="*/ 2 h 688"/>
                  <a:gd name="T28" fmla="*/ 158 w 820"/>
                  <a:gd name="T29" fmla="*/ 9 h 688"/>
                  <a:gd name="T30" fmla="*/ 122 w 820"/>
                  <a:gd name="T31" fmla="*/ 33 h 688"/>
                  <a:gd name="T32" fmla="*/ 102 w 820"/>
                  <a:gd name="T33" fmla="*/ 59 h 688"/>
                  <a:gd name="T34" fmla="*/ 83 w 820"/>
                  <a:gd name="T35" fmla="*/ 111 h 688"/>
                  <a:gd name="T36" fmla="*/ 61 w 820"/>
                  <a:gd name="T37" fmla="*/ 271 h 688"/>
                  <a:gd name="T38" fmla="*/ 55 w 820"/>
                  <a:gd name="T39" fmla="*/ 314 h 688"/>
                  <a:gd name="T40" fmla="*/ 54 w 820"/>
                  <a:gd name="T41" fmla="*/ 356 h 688"/>
                  <a:gd name="T42" fmla="*/ 48 w 820"/>
                  <a:gd name="T43" fmla="*/ 362 h 688"/>
                  <a:gd name="T44" fmla="*/ 39 w 820"/>
                  <a:gd name="T45" fmla="*/ 321 h 688"/>
                  <a:gd name="T46" fmla="*/ 0 w 820"/>
                  <a:gd name="T47" fmla="*/ 321 h 688"/>
                  <a:gd name="T48" fmla="*/ 2 w 820"/>
                  <a:gd name="T49" fmla="*/ 349 h 688"/>
                  <a:gd name="T50" fmla="*/ 15 w 820"/>
                  <a:gd name="T51" fmla="*/ 386 h 688"/>
                  <a:gd name="T52" fmla="*/ 39 w 820"/>
                  <a:gd name="T53" fmla="*/ 417 h 688"/>
                  <a:gd name="T54" fmla="*/ 68 w 820"/>
                  <a:gd name="T55" fmla="*/ 440 h 688"/>
                  <a:gd name="T56" fmla="*/ 106 w 820"/>
                  <a:gd name="T57" fmla="*/ 455 h 688"/>
                  <a:gd name="T58" fmla="*/ 133 w 820"/>
                  <a:gd name="T59" fmla="*/ 458 h 688"/>
                  <a:gd name="T60" fmla="*/ 135 w 820"/>
                  <a:gd name="T61" fmla="*/ 458 h 688"/>
                  <a:gd name="T62" fmla="*/ 141 w 820"/>
                  <a:gd name="T63" fmla="*/ 679 h 688"/>
                  <a:gd name="T64" fmla="*/ 308 w 820"/>
                  <a:gd name="T65" fmla="*/ 458 h 688"/>
                  <a:gd name="T66" fmla="*/ 339 w 820"/>
                  <a:gd name="T67" fmla="*/ 419 h 688"/>
                  <a:gd name="T68" fmla="*/ 137 w 820"/>
                  <a:gd name="T69" fmla="*/ 419 h 688"/>
                  <a:gd name="T70" fmla="*/ 111 w 820"/>
                  <a:gd name="T71" fmla="*/ 408 h 688"/>
                  <a:gd name="T72" fmla="*/ 94 w 820"/>
                  <a:gd name="T73" fmla="*/ 375 h 688"/>
                  <a:gd name="T74" fmla="*/ 94 w 820"/>
                  <a:gd name="T75" fmla="*/ 319 h 688"/>
                  <a:gd name="T76" fmla="*/ 100 w 820"/>
                  <a:gd name="T77" fmla="*/ 276 h 688"/>
                  <a:gd name="T78" fmla="*/ 115 w 820"/>
                  <a:gd name="T79" fmla="*/ 161 h 688"/>
                  <a:gd name="T80" fmla="*/ 135 w 820"/>
                  <a:gd name="T81" fmla="*/ 80 h 688"/>
                  <a:gd name="T82" fmla="*/ 158 w 820"/>
                  <a:gd name="T83" fmla="*/ 54 h 688"/>
                  <a:gd name="T84" fmla="*/ 197 w 820"/>
                  <a:gd name="T85" fmla="*/ 39 h 688"/>
                  <a:gd name="T86" fmla="*/ 217 w 820"/>
                  <a:gd name="T87" fmla="*/ 41 h 688"/>
                  <a:gd name="T88" fmla="*/ 230 w 820"/>
                  <a:gd name="T89" fmla="*/ 56 h 688"/>
                  <a:gd name="T90" fmla="*/ 249 w 820"/>
                  <a:gd name="T91" fmla="*/ 109 h 688"/>
                  <a:gd name="T92" fmla="*/ 275 w 820"/>
                  <a:gd name="T93" fmla="*/ 219 h 688"/>
                  <a:gd name="T94" fmla="*/ 252 w 820"/>
                  <a:gd name="T95" fmla="*/ 271 h 688"/>
                  <a:gd name="T96" fmla="*/ 210 w 820"/>
                  <a:gd name="T97" fmla="*/ 141 h 688"/>
                  <a:gd name="T98" fmla="*/ 189 w 820"/>
                  <a:gd name="T99" fmla="*/ 133 h 688"/>
                  <a:gd name="T100" fmla="*/ 178 w 820"/>
                  <a:gd name="T101" fmla="*/ 145 h 688"/>
                  <a:gd name="T102" fmla="*/ 198 w 820"/>
                  <a:gd name="T103" fmla="*/ 226 h 688"/>
                  <a:gd name="T104" fmla="*/ 182 w 820"/>
                  <a:gd name="T105" fmla="*/ 332 h 688"/>
                  <a:gd name="T106" fmla="*/ 198 w 820"/>
                  <a:gd name="T107" fmla="*/ 347 h 688"/>
                  <a:gd name="T108" fmla="*/ 367 w 820"/>
                  <a:gd name="T109" fmla="*/ 377 h 688"/>
                  <a:gd name="T110" fmla="*/ 386 w 820"/>
                  <a:gd name="T111" fmla="*/ 393 h 688"/>
                  <a:gd name="T112" fmla="*/ 475 w 820"/>
                  <a:gd name="T113" fmla="*/ 670 h 688"/>
                  <a:gd name="T114" fmla="*/ 423 w 820"/>
                  <a:gd name="T115" fmla="*/ 380 h 688"/>
                  <a:gd name="T116" fmla="*/ 403 w 820"/>
                  <a:gd name="T117" fmla="*/ 352 h 688"/>
                  <a:gd name="T118" fmla="*/ 371 w 820"/>
                  <a:gd name="T119" fmla="*/ 338 h 688"/>
                  <a:gd name="T120" fmla="*/ 720 w 820"/>
                  <a:gd name="T121" fmla="*/ 310 h 688"/>
                  <a:gd name="T122" fmla="*/ 761 w 820"/>
                  <a:gd name="T123" fmla="*/ 310 h 6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820" h="688">
                    <a:moveTo>
                      <a:pt x="820" y="271"/>
                    </a:moveTo>
                    <a:lnTo>
                      <a:pt x="694" y="271"/>
                    </a:lnTo>
                    <a:lnTo>
                      <a:pt x="763" y="70"/>
                    </a:lnTo>
                    <a:lnTo>
                      <a:pt x="763" y="70"/>
                    </a:lnTo>
                    <a:lnTo>
                      <a:pt x="765" y="67"/>
                    </a:lnTo>
                    <a:lnTo>
                      <a:pt x="765" y="61"/>
                    </a:lnTo>
                    <a:lnTo>
                      <a:pt x="763" y="57"/>
                    </a:lnTo>
                    <a:lnTo>
                      <a:pt x="761" y="52"/>
                    </a:lnTo>
                    <a:lnTo>
                      <a:pt x="761" y="52"/>
                    </a:lnTo>
                    <a:lnTo>
                      <a:pt x="757" y="50"/>
                    </a:lnTo>
                    <a:lnTo>
                      <a:pt x="753" y="46"/>
                    </a:lnTo>
                    <a:lnTo>
                      <a:pt x="750" y="44"/>
                    </a:lnTo>
                    <a:lnTo>
                      <a:pt x="744" y="44"/>
                    </a:lnTo>
                    <a:lnTo>
                      <a:pt x="432" y="44"/>
                    </a:lnTo>
                    <a:lnTo>
                      <a:pt x="432" y="44"/>
                    </a:lnTo>
                    <a:lnTo>
                      <a:pt x="427" y="44"/>
                    </a:lnTo>
                    <a:lnTo>
                      <a:pt x="421" y="48"/>
                    </a:lnTo>
                    <a:lnTo>
                      <a:pt x="417" y="52"/>
                    </a:lnTo>
                    <a:lnTo>
                      <a:pt x="414" y="57"/>
                    </a:lnTo>
                    <a:lnTo>
                      <a:pt x="373" y="169"/>
                    </a:lnTo>
                    <a:lnTo>
                      <a:pt x="410" y="182"/>
                    </a:lnTo>
                    <a:lnTo>
                      <a:pt x="445" y="83"/>
                    </a:lnTo>
                    <a:lnTo>
                      <a:pt x="716" y="83"/>
                    </a:lnTo>
                    <a:lnTo>
                      <a:pt x="651" y="271"/>
                    </a:lnTo>
                    <a:lnTo>
                      <a:pt x="477" y="271"/>
                    </a:lnTo>
                    <a:lnTo>
                      <a:pt x="484" y="241"/>
                    </a:lnTo>
                    <a:lnTo>
                      <a:pt x="310" y="197"/>
                    </a:lnTo>
                    <a:lnTo>
                      <a:pt x="310" y="197"/>
                    </a:lnTo>
                    <a:lnTo>
                      <a:pt x="299" y="146"/>
                    </a:lnTo>
                    <a:lnTo>
                      <a:pt x="299" y="146"/>
                    </a:lnTo>
                    <a:lnTo>
                      <a:pt x="286" y="94"/>
                    </a:lnTo>
                    <a:lnTo>
                      <a:pt x="275" y="57"/>
                    </a:lnTo>
                    <a:lnTo>
                      <a:pt x="267" y="43"/>
                    </a:lnTo>
                    <a:lnTo>
                      <a:pt x="262" y="30"/>
                    </a:lnTo>
                    <a:lnTo>
                      <a:pt x="252" y="18"/>
                    </a:lnTo>
                    <a:lnTo>
                      <a:pt x="243" y="9"/>
                    </a:lnTo>
                    <a:lnTo>
                      <a:pt x="243" y="9"/>
                    </a:lnTo>
                    <a:lnTo>
                      <a:pt x="237" y="5"/>
                    </a:lnTo>
                    <a:lnTo>
                      <a:pt x="230" y="4"/>
                    </a:lnTo>
                    <a:lnTo>
                      <a:pt x="217" y="0"/>
                    </a:lnTo>
                    <a:lnTo>
                      <a:pt x="202" y="0"/>
                    </a:lnTo>
                    <a:lnTo>
                      <a:pt x="187" y="2"/>
                    </a:lnTo>
                    <a:lnTo>
                      <a:pt x="187" y="2"/>
                    </a:lnTo>
                    <a:lnTo>
                      <a:pt x="169" y="5"/>
                    </a:lnTo>
                    <a:lnTo>
                      <a:pt x="158" y="9"/>
                    </a:lnTo>
                    <a:lnTo>
                      <a:pt x="146" y="15"/>
                    </a:lnTo>
                    <a:lnTo>
                      <a:pt x="135" y="22"/>
                    </a:lnTo>
                    <a:lnTo>
                      <a:pt x="122" y="33"/>
                    </a:lnTo>
                    <a:lnTo>
                      <a:pt x="111" y="44"/>
                    </a:lnTo>
                    <a:lnTo>
                      <a:pt x="102" y="59"/>
                    </a:lnTo>
                    <a:lnTo>
                      <a:pt x="102" y="59"/>
                    </a:lnTo>
                    <a:lnTo>
                      <a:pt x="94" y="72"/>
                    </a:lnTo>
                    <a:lnTo>
                      <a:pt x="89" y="89"/>
                    </a:lnTo>
                    <a:lnTo>
                      <a:pt x="83" y="111"/>
                    </a:lnTo>
                    <a:lnTo>
                      <a:pt x="80" y="137"/>
                    </a:lnTo>
                    <a:lnTo>
                      <a:pt x="70" y="198"/>
                    </a:lnTo>
                    <a:lnTo>
                      <a:pt x="61" y="271"/>
                    </a:lnTo>
                    <a:lnTo>
                      <a:pt x="61" y="271"/>
                    </a:lnTo>
                    <a:lnTo>
                      <a:pt x="57" y="310"/>
                    </a:lnTo>
                    <a:lnTo>
                      <a:pt x="55" y="314"/>
                    </a:lnTo>
                    <a:lnTo>
                      <a:pt x="55" y="314"/>
                    </a:lnTo>
                    <a:lnTo>
                      <a:pt x="54" y="340"/>
                    </a:lnTo>
                    <a:lnTo>
                      <a:pt x="54" y="356"/>
                    </a:lnTo>
                    <a:lnTo>
                      <a:pt x="54" y="373"/>
                    </a:lnTo>
                    <a:lnTo>
                      <a:pt x="54" y="373"/>
                    </a:lnTo>
                    <a:lnTo>
                      <a:pt x="48" y="362"/>
                    </a:lnTo>
                    <a:lnTo>
                      <a:pt x="42" y="349"/>
                    </a:lnTo>
                    <a:lnTo>
                      <a:pt x="41" y="336"/>
                    </a:lnTo>
                    <a:lnTo>
                      <a:pt x="39" y="321"/>
                    </a:lnTo>
                    <a:lnTo>
                      <a:pt x="39" y="56"/>
                    </a:lnTo>
                    <a:lnTo>
                      <a:pt x="0" y="56"/>
                    </a:lnTo>
                    <a:lnTo>
                      <a:pt x="0" y="321"/>
                    </a:lnTo>
                    <a:lnTo>
                      <a:pt x="0" y="321"/>
                    </a:lnTo>
                    <a:lnTo>
                      <a:pt x="0" y="336"/>
                    </a:lnTo>
                    <a:lnTo>
                      <a:pt x="2" y="349"/>
                    </a:lnTo>
                    <a:lnTo>
                      <a:pt x="5" y="362"/>
                    </a:lnTo>
                    <a:lnTo>
                      <a:pt x="9" y="373"/>
                    </a:lnTo>
                    <a:lnTo>
                      <a:pt x="15" y="386"/>
                    </a:lnTo>
                    <a:lnTo>
                      <a:pt x="22" y="397"/>
                    </a:lnTo>
                    <a:lnTo>
                      <a:pt x="29" y="406"/>
                    </a:lnTo>
                    <a:lnTo>
                      <a:pt x="39" y="417"/>
                    </a:lnTo>
                    <a:lnTo>
                      <a:pt x="48" y="425"/>
                    </a:lnTo>
                    <a:lnTo>
                      <a:pt x="57" y="434"/>
                    </a:lnTo>
                    <a:lnTo>
                      <a:pt x="68" y="440"/>
                    </a:lnTo>
                    <a:lnTo>
                      <a:pt x="81" y="447"/>
                    </a:lnTo>
                    <a:lnTo>
                      <a:pt x="93" y="451"/>
                    </a:lnTo>
                    <a:lnTo>
                      <a:pt x="106" y="455"/>
                    </a:lnTo>
                    <a:lnTo>
                      <a:pt x="119" y="456"/>
                    </a:lnTo>
                    <a:lnTo>
                      <a:pt x="133" y="458"/>
                    </a:lnTo>
                    <a:lnTo>
                      <a:pt x="133" y="458"/>
                    </a:lnTo>
                    <a:lnTo>
                      <a:pt x="133" y="458"/>
                    </a:lnTo>
                    <a:lnTo>
                      <a:pt x="135" y="458"/>
                    </a:lnTo>
                    <a:lnTo>
                      <a:pt x="135" y="458"/>
                    </a:lnTo>
                    <a:lnTo>
                      <a:pt x="139" y="458"/>
                    </a:lnTo>
                    <a:lnTo>
                      <a:pt x="141" y="458"/>
                    </a:lnTo>
                    <a:lnTo>
                      <a:pt x="141" y="679"/>
                    </a:lnTo>
                    <a:lnTo>
                      <a:pt x="180" y="679"/>
                    </a:lnTo>
                    <a:lnTo>
                      <a:pt x="180" y="458"/>
                    </a:lnTo>
                    <a:lnTo>
                      <a:pt x="308" y="458"/>
                    </a:lnTo>
                    <a:lnTo>
                      <a:pt x="364" y="688"/>
                    </a:lnTo>
                    <a:lnTo>
                      <a:pt x="403" y="679"/>
                    </a:lnTo>
                    <a:lnTo>
                      <a:pt x="339" y="419"/>
                    </a:lnTo>
                    <a:lnTo>
                      <a:pt x="139" y="419"/>
                    </a:lnTo>
                    <a:lnTo>
                      <a:pt x="139" y="419"/>
                    </a:lnTo>
                    <a:lnTo>
                      <a:pt x="137" y="419"/>
                    </a:lnTo>
                    <a:lnTo>
                      <a:pt x="137" y="419"/>
                    </a:lnTo>
                    <a:lnTo>
                      <a:pt x="122" y="416"/>
                    </a:lnTo>
                    <a:lnTo>
                      <a:pt x="111" y="408"/>
                    </a:lnTo>
                    <a:lnTo>
                      <a:pt x="102" y="399"/>
                    </a:lnTo>
                    <a:lnTo>
                      <a:pt x="96" y="388"/>
                    </a:lnTo>
                    <a:lnTo>
                      <a:pt x="94" y="375"/>
                    </a:lnTo>
                    <a:lnTo>
                      <a:pt x="93" y="358"/>
                    </a:lnTo>
                    <a:lnTo>
                      <a:pt x="93" y="340"/>
                    </a:lnTo>
                    <a:lnTo>
                      <a:pt x="94" y="319"/>
                    </a:lnTo>
                    <a:lnTo>
                      <a:pt x="96" y="315"/>
                    </a:lnTo>
                    <a:lnTo>
                      <a:pt x="96" y="315"/>
                    </a:lnTo>
                    <a:lnTo>
                      <a:pt x="100" y="276"/>
                    </a:lnTo>
                    <a:lnTo>
                      <a:pt x="100" y="276"/>
                    </a:lnTo>
                    <a:lnTo>
                      <a:pt x="107" y="221"/>
                    </a:lnTo>
                    <a:lnTo>
                      <a:pt x="115" y="161"/>
                    </a:lnTo>
                    <a:lnTo>
                      <a:pt x="124" y="111"/>
                    </a:lnTo>
                    <a:lnTo>
                      <a:pt x="130" y="93"/>
                    </a:lnTo>
                    <a:lnTo>
                      <a:pt x="135" y="80"/>
                    </a:lnTo>
                    <a:lnTo>
                      <a:pt x="135" y="80"/>
                    </a:lnTo>
                    <a:lnTo>
                      <a:pt x="146" y="65"/>
                    </a:lnTo>
                    <a:lnTo>
                      <a:pt x="158" y="54"/>
                    </a:lnTo>
                    <a:lnTo>
                      <a:pt x="171" y="46"/>
                    </a:lnTo>
                    <a:lnTo>
                      <a:pt x="184" y="43"/>
                    </a:lnTo>
                    <a:lnTo>
                      <a:pt x="197" y="39"/>
                    </a:lnTo>
                    <a:lnTo>
                      <a:pt x="206" y="39"/>
                    </a:lnTo>
                    <a:lnTo>
                      <a:pt x="213" y="39"/>
                    </a:lnTo>
                    <a:lnTo>
                      <a:pt x="217" y="41"/>
                    </a:lnTo>
                    <a:lnTo>
                      <a:pt x="217" y="41"/>
                    </a:lnTo>
                    <a:lnTo>
                      <a:pt x="224" y="46"/>
                    </a:lnTo>
                    <a:lnTo>
                      <a:pt x="230" y="56"/>
                    </a:lnTo>
                    <a:lnTo>
                      <a:pt x="234" y="65"/>
                    </a:lnTo>
                    <a:lnTo>
                      <a:pt x="239" y="78"/>
                    </a:lnTo>
                    <a:lnTo>
                      <a:pt x="249" y="109"/>
                    </a:lnTo>
                    <a:lnTo>
                      <a:pt x="260" y="156"/>
                    </a:lnTo>
                    <a:lnTo>
                      <a:pt x="260" y="156"/>
                    </a:lnTo>
                    <a:lnTo>
                      <a:pt x="275" y="219"/>
                    </a:lnTo>
                    <a:lnTo>
                      <a:pt x="278" y="230"/>
                    </a:lnTo>
                    <a:lnTo>
                      <a:pt x="438" y="271"/>
                    </a:lnTo>
                    <a:lnTo>
                      <a:pt x="252" y="271"/>
                    </a:lnTo>
                    <a:lnTo>
                      <a:pt x="213" y="146"/>
                    </a:lnTo>
                    <a:lnTo>
                      <a:pt x="213" y="146"/>
                    </a:lnTo>
                    <a:lnTo>
                      <a:pt x="210" y="141"/>
                    </a:lnTo>
                    <a:lnTo>
                      <a:pt x="204" y="135"/>
                    </a:lnTo>
                    <a:lnTo>
                      <a:pt x="197" y="133"/>
                    </a:lnTo>
                    <a:lnTo>
                      <a:pt x="189" y="133"/>
                    </a:lnTo>
                    <a:lnTo>
                      <a:pt x="189" y="133"/>
                    </a:lnTo>
                    <a:lnTo>
                      <a:pt x="182" y="137"/>
                    </a:lnTo>
                    <a:lnTo>
                      <a:pt x="178" y="145"/>
                    </a:lnTo>
                    <a:lnTo>
                      <a:pt x="174" y="152"/>
                    </a:lnTo>
                    <a:lnTo>
                      <a:pt x="176" y="159"/>
                    </a:lnTo>
                    <a:lnTo>
                      <a:pt x="198" y="226"/>
                    </a:lnTo>
                    <a:lnTo>
                      <a:pt x="182" y="325"/>
                    </a:lnTo>
                    <a:lnTo>
                      <a:pt x="182" y="325"/>
                    </a:lnTo>
                    <a:lnTo>
                      <a:pt x="182" y="332"/>
                    </a:lnTo>
                    <a:lnTo>
                      <a:pt x="185" y="340"/>
                    </a:lnTo>
                    <a:lnTo>
                      <a:pt x="191" y="345"/>
                    </a:lnTo>
                    <a:lnTo>
                      <a:pt x="198" y="347"/>
                    </a:lnTo>
                    <a:lnTo>
                      <a:pt x="364" y="375"/>
                    </a:lnTo>
                    <a:lnTo>
                      <a:pt x="364" y="375"/>
                    </a:lnTo>
                    <a:lnTo>
                      <a:pt x="367" y="377"/>
                    </a:lnTo>
                    <a:lnTo>
                      <a:pt x="375" y="380"/>
                    </a:lnTo>
                    <a:lnTo>
                      <a:pt x="382" y="388"/>
                    </a:lnTo>
                    <a:lnTo>
                      <a:pt x="386" y="393"/>
                    </a:lnTo>
                    <a:lnTo>
                      <a:pt x="388" y="401"/>
                    </a:lnTo>
                    <a:lnTo>
                      <a:pt x="436" y="675"/>
                    </a:lnTo>
                    <a:lnTo>
                      <a:pt x="475" y="670"/>
                    </a:lnTo>
                    <a:lnTo>
                      <a:pt x="427" y="393"/>
                    </a:lnTo>
                    <a:lnTo>
                      <a:pt x="427" y="393"/>
                    </a:lnTo>
                    <a:lnTo>
                      <a:pt x="423" y="380"/>
                    </a:lnTo>
                    <a:lnTo>
                      <a:pt x="417" y="369"/>
                    </a:lnTo>
                    <a:lnTo>
                      <a:pt x="410" y="360"/>
                    </a:lnTo>
                    <a:lnTo>
                      <a:pt x="403" y="352"/>
                    </a:lnTo>
                    <a:lnTo>
                      <a:pt x="393" y="347"/>
                    </a:lnTo>
                    <a:lnTo>
                      <a:pt x="386" y="341"/>
                    </a:lnTo>
                    <a:lnTo>
                      <a:pt x="371" y="338"/>
                    </a:lnTo>
                    <a:lnTo>
                      <a:pt x="224" y="312"/>
                    </a:lnTo>
                    <a:lnTo>
                      <a:pt x="224" y="310"/>
                    </a:lnTo>
                    <a:lnTo>
                      <a:pt x="720" y="310"/>
                    </a:lnTo>
                    <a:lnTo>
                      <a:pt x="720" y="679"/>
                    </a:lnTo>
                    <a:lnTo>
                      <a:pt x="761" y="679"/>
                    </a:lnTo>
                    <a:lnTo>
                      <a:pt x="761" y="310"/>
                    </a:lnTo>
                    <a:lnTo>
                      <a:pt x="820" y="310"/>
                    </a:lnTo>
                    <a:lnTo>
                      <a:pt x="820" y="2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A1DDD3B-DB25-5445-AC11-D16B0D7B7DFF}"/>
              </a:ext>
            </a:extLst>
          </p:cNvPr>
          <p:cNvGrpSpPr/>
          <p:nvPr/>
        </p:nvGrpSpPr>
        <p:grpSpPr>
          <a:xfrm>
            <a:off x="3960837" y="1367879"/>
            <a:ext cx="3600400" cy="792088"/>
            <a:chOff x="3960837" y="2375991"/>
            <a:chExt cx="3600400" cy="792088"/>
          </a:xfrm>
        </p:grpSpPr>
        <p:sp>
          <p:nvSpPr>
            <p:cNvPr id="161" name="Rechteck 14">
              <a:extLst>
                <a:ext uri="{FF2B5EF4-FFF2-40B4-BE49-F238E27FC236}">
                  <a16:creationId xmlns:a16="http://schemas.microsoft.com/office/drawing/2014/main" id="{F1616D9B-DE27-AB44-815B-9B5CB54500D8}"/>
                </a:ext>
              </a:extLst>
            </p:cNvPr>
            <p:cNvSpPr/>
            <p:nvPr/>
          </p:nvSpPr>
          <p:spPr bwMode="gray">
            <a:xfrm>
              <a:off x="3960837" y="2375991"/>
              <a:ext cx="3600400" cy="792088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l">
                <a:buClr>
                  <a:srgbClr val="9B9B9B"/>
                </a:buClr>
              </a:pPr>
              <a:r>
                <a:rPr lang="en-US" sz="2800" b="1" dirty="0"/>
                <a:t>379</a:t>
              </a:r>
              <a:r>
                <a:rPr lang="en-US" sz="1600" dirty="0"/>
                <a:t> </a:t>
              </a:r>
              <a:r>
                <a:rPr lang="en-US" sz="2000" dirty="0">
                  <a:solidFill>
                    <a:schemeClr val="bg1"/>
                  </a:solidFill>
                </a:rPr>
                <a:t>EC2 instances</a:t>
              </a:r>
              <a:endParaRPr lang="de-DE" sz="1600" kern="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7C692925-D513-ED45-B3C6-05934FFDAA8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515803" y="2447999"/>
              <a:ext cx="757402" cy="640252"/>
              <a:chOff x="2975419" y="1867834"/>
              <a:chExt cx="296338" cy="334054"/>
            </a:xfrm>
            <a:solidFill>
              <a:schemeClr val="tx1"/>
            </a:solidFill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id="{34293E2D-ACE3-B541-9F5D-E9F67BD98B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75419" y="1867834"/>
                <a:ext cx="140087" cy="297416"/>
              </a:xfrm>
              <a:custGeom>
                <a:avLst/>
                <a:gdLst>
                  <a:gd name="T0" fmla="*/ 220 w 259"/>
                  <a:gd name="T1" fmla="*/ 0 h 552"/>
                  <a:gd name="T2" fmla="*/ 40 w 259"/>
                  <a:gd name="T3" fmla="*/ 0 h 552"/>
                  <a:gd name="T4" fmla="*/ 40 w 259"/>
                  <a:gd name="T5" fmla="*/ 0 h 552"/>
                  <a:gd name="T6" fmla="*/ 31 w 259"/>
                  <a:gd name="T7" fmla="*/ 0 h 552"/>
                  <a:gd name="T8" fmla="*/ 25 w 259"/>
                  <a:gd name="T9" fmla="*/ 4 h 552"/>
                  <a:gd name="T10" fmla="*/ 18 w 259"/>
                  <a:gd name="T11" fmla="*/ 7 h 552"/>
                  <a:gd name="T12" fmla="*/ 11 w 259"/>
                  <a:gd name="T13" fmla="*/ 12 h 552"/>
                  <a:gd name="T14" fmla="*/ 6 w 259"/>
                  <a:gd name="T15" fmla="*/ 17 h 552"/>
                  <a:gd name="T16" fmla="*/ 3 w 259"/>
                  <a:gd name="T17" fmla="*/ 24 h 552"/>
                  <a:gd name="T18" fmla="*/ 1 w 259"/>
                  <a:gd name="T19" fmla="*/ 32 h 552"/>
                  <a:gd name="T20" fmla="*/ 0 w 259"/>
                  <a:gd name="T21" fmla="*/ 39 h 552"/>
                  <a:gd name="T22" fmla="*/ 0 w 259"/>
                  <a:gd name="T23" fmla="*/ 512 h 552"/>
                  <a:gd name="T24" fmla="*/ 0 w 259"/>
                  <a:gd name="T25" fmla="*/ 512 h 552"/>
                  <a:gd name="T26" fmla="*/ 1 w 259"/>
                  <a:gd name="T27" fmla="*/ 520 h 552"/>
                  <a:gd name="T28" fmla="*/ 3 w 259"/>
                  <a:gd name="T29" fmla="*/ 527 h 552"/>
                  <a:gd name="T30" fmla="*/ 6 w 259"/>
                  <a:gd name="T31" fmla="*/ 534 h 552"/>
                  <a:gd name="T32" fmla="*/ 11 w 259"/>
                  <a:gd name="T33" fmla="*/ 540 h 552"/>
                  <a:gd name="T34" fmla="*/ 18 w 259"/>
                  <a:gd name="T35" fmla="*/ 545 h 552"/>
                  <a:gd name="T36" fmla="*/ 25 w 259"/>
                  <a:gd name="T37" fmla="*/ 549 h 552"/>
                  <a:gd name="T38" fmla="*/ 31 w 259"/>
                  <a:gd name="T39" fmla="*/ 550 h 552"/>
                  <a:gd name="T40" fmla="*/ 40 w 259"/>
                  <a:gd name="T41" fmla="*/ 552 h 552"/>
                  <a:gd name="T42" fmla="*/ 220 w 259"/>
                  <a:gd name="T43" fmla="*/ 552 h 552"/>
                  <a:gd name="T44" fmla="*/ 220 w 259"/>
                  <a:gd name="T45" fmla="*/ 552 h 552"/>
                  <a:gd name="T46" fmla="*/ 227 w 259"/>
                  <a:gd name="T47" fmla="*/ 550 h 552"/>
                  <a:gd name="T48" fmla="*/ 235 w 259"/>
                  <a:gd name="T49" fmla="*/ 549 h 552"/>
                  <a:gd name="T50" fmla="*/ 242 w 259"/>
                  <a:gd name="T51" fmla="*/ 545 h 552"/>
                  <a:gd name="T52" fmla="*/ 247 w 259"/>
                  <a:gd name="T53" fmla="*/ 540 h 552"/>
                  <a:gd name="T54" fmla="*/ 252 w 259"/>
                  <a:gd name="T55" fmla="*/ 534 h 552"/>
                  <a:gd name="T56" fmla="*/ 255 w 259"/>
                  <a:gd name="T57" fmla="*/ 527 h 552"/>
                  <a:gd name="T58" fmla="*/ 259 w 259"/>
                  <a:gd name="T59" fmla="*/ 520 h 552"/>
                  <a:gd name="T60" fmla="*/ 259 w 259"/>
                  <a:gd name="T61" fmla="*/ 512 h 552"/>
                  <a:gd name="T62" fmla="*/ 259 w 259"/>
                  <a:gd name="T63" fmla="*/ 39 h 552"/>
                  <a:gd name="T64" fmla="*/ 259 w 259"/>
                  <a:gd name="T65" fmla="*/ 39 h 552"/>
                  <a:gd name="T66" fmla="*/ 259 w 259"/>
                  <a:gd name="T67" fmla="*/ 32 h 552"/>
                  <a:gd name="T68" fmla="*/ 255 w 259"/>
                  <a:gd name="T69" fmla="*/ 24 h 552"/>
                  <a:gd name="T70" fmla="*/ 252 w 259"/>
                  <a:gd name="T71" fmla="*/ 17 h 552"/>
                  <a:gd name="T72" fmla="*/ 247 w 259"/>
                  <a:gd name="T73" fmla="*/ 12 h 552"/>
                  <a:gd name="T74" fmla="*/ 242 w 259"/>
                  <a:gd name="T75" fmla="*/ 7 h 552"/>
                  <a:gd name="T76" fmla="*/ 235 w 259"/>
                  <a:gd name="T77" fmla="*/ 4 h 552"/>
                  <a:gd name="T78" fmla="*/ 227 w 259"/>
                  <a:gd name="T79" fmla="*/ 0 h 552"/>
                  <a:gd name="T80" fmla="*/ 220 w 259"/>
                  <a:gd name="T81" fmla="*/ 0 h 552"/>
                  <a:gd name="T82" fmla="*/ 220 w 259"/>
                  <a:gd name="T83" fmla="*/ 0 h 552"/>
                  <a:gd name="T84" fmla="*/ 222 w 259"/>
                  <a:gd name="T85" fmla="*/ 512 h 552"/>
                  <a:gd name="T86" fmla="*/ 222 w 259"/>
                  <a:gd name="T87" fmla="*/ 512 h 552"/>
                  <a:gd name="T88" fmla="*/ 222 w 259"/>
                  <a:gd name="T89" fmla="*/ 513 h 552"/>
                  <a:gd name="T90" fmla="*/ 220 w 259"/>
                  <a:gd name="T91" fmla="*/ 515 h 552"/>
                  <a:gd name="T92" fmla="*/ 40 w 259"/>
                  <a:gd name="T93" fmla="*/ 515 h 552"/>
                  <a:gd name="T94" fmla="*/ 40 w 259"/>
                  <a:gd name="T95" fmla="*/ 515 h 552"/>
                  <a:gd name="T96" fmla="*/ 38 w 259"/>
                  <a:gd name="T97" fmla="*/ 513 h 552"/>
                  <a:gd name="T98" fmla="*/ 36 w 259"/>
                  <a:gd name="T99" fmla="*/ 512 h 552"/>
                  <a:gd name="T100" fmla="*/ 36 w 259"/>
                  <a:gd name="T101" fmla="*/ 39 h 552"/>
                  <a:gd name="T102" fmla="*/ 36 w 259"/>
                  <a:gd name="T103" fmla="*/ 39 h 552"/>
                  <a:gd name="T104" fmla="*/ 38 w 259"/>
                  <a:gd name="T105" fmla="*/ 37 h 552"/>
                  <a:gd name="T106" fmla="*/ 40 w 259"/>
                  <a:gd name="T107" fmla="*/ 37 h 552"/>
                  <a:gd name="T108" fmla="*/ 220 w 259"/>
                  <a:gd name="T109" fmla="*/ 37 h 552"/>
                  <a:gd name="T110" fmla="*/ 220 w 259"/>
                  <a:gd name="T111" fmla="*/ 37 h 552"/>
                  <a:gd name="T112" fmla="*/ 222 w 259"/>
                  <a:gd name="T113" fmla="*/ 37 h 552"/>
                  <a:gd name="T114" fmla="*/ 222 w 259"/>
                  <a:gd name="T115" fmla="*/ 39 h 552"/>
                  <a:gd name="T116" fmla="*/ 222 w 259"/>
                  <a:gd name="T117" fmla="*/ 512 h 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59" h="552">
                    <a:moveTo>
                      <a:pt x="220" y="0"/>
                    </a:moveTo>
                    <a:lnTo>
                      <a:pt x="40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5" y="4"/>
                    </a:lnTo>
                    <a:lnTo>
                      <a:pt x="18" y="7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4"/>
                    </a:lnTo>
                    <a:lnTo>
                      <a:pt x="1" y="32"/>
                    </a:lnTo>
                    <a:lnTo>
                      <a:pt x="0" y="39"/>
                    </a:lnTo>
                    <a:lnTo>
                      <a:pt x="0" y="512"/>
                    </a:lnTo>
                    <a:lnTo>
                      <a:pt x="0" y="512"/>
                    </a:lnTo>
                    <a:lnTo>
                      <a:pt x="1" y="520"/>
                    </a:lnTo>
                    <a:lnTo>
                      <a:pt x="3" y="527"/>
                    </a:lnTo>
                    <a:lnTo>
                      <a:pt x="6" y="534"/>
                    </a:lnTo>
                    <a:lnTo>
                      <a:pt x="11" y="540"/>
                    </a:lnTo>
                    <a:lnTo>
                      <a:pt x="18" y="545"/>
                    </a:lnTo>
                    <a:lnTo>
                      <a:pt x="25" y="549"/>
                    </a:lnTo>
                    <a:lnTo>
                      <a:pt x="31" y="550"/>
                    </a:lnTo>
                    <a:lnTo>
                      <a:pt x="40" y="552"/>
                    </a:lnTo>
                    <a:lnTo>
                      <a:pt x="220" y="552"/>
                    </a:lnTo>
                    <a:lnTo>
                      <a:pt x="220" y="552"/>
                    </a:lnTo>
                    <a:lnTo>
                      <a:pt x="227" y="550"/>
                    </a:lnTo>
                    <a:lnTo>
                      <a:pt x="235" y="549"/>
                    </a:lnTo>
                    <a:lnTo>
                      <a:pt x="242" y="545"/>
                    </a:lnTo>
                    <a:lnTo>
                      <a:pt x="247" y="540"/>
                    </a:lnTo>
                    <a:lnTo>
                      <a:pt x="252" y="534"/>
                    </a:lnTo>
                    <a:lnTo>
                      <a:pt x="255" y="527"/>
                    </a:lnTo>
                    <a:lnTo>
                      <a:pt x="259" y="520"/>
                    </a:lnTo>
                    <a:lnTo>
                      <a:pt x="259" y="512"/>
                    </a:lnTo>
                    <a:lnTo>
                      <a:pt x="259" y="39"/>
                    </a:lnTo>
                    <a:lnTo>
                      <a:pt x="259" y="39"/>
                    </a:lnTo>
                    <a:lnTo>
                      <a:pt x="259" y="32"/>
                    </a:lnTo>
                    <a:lnTo>
                      <a:pt x="255" y="24"/>
                    </a:lnTo>
                    <a:lnTo>
                      <a:pt x="252" y="17"/>
                    </a:lnTo>
                    <a:lnTo>
                      <a:pt x="247" y="12"/>
                    </a:lnTo>
                    <a:lnTo>
                      <a:pt x="242" y="7"/>
                    </a:lnTo>
                    <a:lnTo>
                      <a:pt x="235" y="4"/>
                    </a:lnTo>
                    <a:lnTo>
                      <a:pt x="227" y="0"/>
                    </a:lnTo>
                    <a:lnTo>
                      <a:pt x="220" y="0"/>
                    </a:lnTo>
                    <a:lnTo>
                      <a:pt x="220" y="0"/>
                    </a:lnTo>
                    <a:close/>
                    <a:moveTo>
                      <a:pt x="222" y="512"/>
                    </a:moveTo>
                    <a:lnTo>
                      <a:pt x="222" y="512"/>
                    </a:lnTo>
                    <a:lnTo>
                      <a:pt x="222" y="513"/>
                    </a:lnTo>
                    <a:lnTo>
                      <a:pt x="220" y="515"/>
                    </a:lnTo>
                    <a:lnTo>
                      <a:pt x="40" y="515"/>
                    </a:lnTo>
                    <a:lnTo>
                      <a:pt x="40" y="515"/>
                    </a:lnTo>
                    <a:lnTo>
                      <a:pt x="38" y="513"/>
                    </a:lnTo>
                    <a:lnTo>
                      <a:pt x="36" y="512"/>
                    </a:lnTo>
                    <a:lnTo>
                      <a:pt x="36" y="39"/>
                    </a:lnTo>
                    <a:lnTo>
                      <a:pt x="36" y="39"/>
                    </a:lnTo>
                    <a:lnTo>
                      <a:pt x="38" y="37"/>
                    </a:lnTo>
                    <a:lnTo>
                      <a:pt x="40" y="37"/>
                    </a:lnTo>
                    <a:lnTo>
                      <a:pt x="220" y="37"/>
                    </a:lnTo>
                    <a:lnTo>
                      <a:pt x="220" y="37"/>
                    </a:lnTo>
                    <a:lnTo>
                      <a:pt x="222" y="37"/>
                    </a:lnTo>
                    <a:lnTo>
                      <a:pt x="222" y="39"/>
                    </a:lnTo>
                    <a:lnTo>
                      <a:pt x="222" y="5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6">
                <a:extLst>
                  <a:ext uri="{FF2B5EF4-FFF2-40B4-BE49-F238E27FC236}">
                    <a16:creationId xmlns:a16="http://schemas.microsoft.com/office/drawing/2014/main" id="{27F81D32-24A9-2A45-B585-61B572C837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3135" y="1917403"/>
                <a:ext cx="65733" cy="16164"/>
              </a:xfrm>
              <a:custGeom>
                <a:avLst/>
                <a:gdLst>
                  <a:gd name="T0" fmla="*/ 107 w 124"/>
                  <a:gd name="T1" fmla="*/ 0 h 30"/>
                  <a:gd name="T2" fmla="*/ 15 w 124"/>
                  <a:gd name="T3" fmla="*/ 0 h 30"/>
                  <a:gd name="T4" fmla="*/ 15 w 124"/>
                  <a:gd name="T5" fmla="*/ 0 h 30"/>
                  <a:gd name="T6" fmla="*/ 9 w 124"/>
                  <a:gd name="T7" fmla="*/ 0 h 30"/>
                  <a:gd name="T8" fmla="*/ 4 w 124"/>
                  <a:gd name="T9" fmla="*/ 3 h 30"/>
                  <a:gd name="T10" fmla="*/ 0 w 124"/>
                  <a:gd name="T11" fmla="*/ 8 h 30"/>
                  <a:gd name="T12" fmla="*/ 0 w 124"/>
                  <a:gd name="T13" fmla="*/ 15 h 30"/>
                  <a:gd name="T14" fmla="*/ 0 w 124"/>
                  <a:gd name="T15" fmla="*/ 15 h 30"/>
                  <a:gd name="T16" fmla="*/ 0 w 124"/>
                  <a:gd name="T17" fmla="*/ 22 h 30"/>
                  <a:gd name="T18" fmla="*/ 4 w 124"/>
                  <a:gd name="T19" fmla="*/ 27 h 30"/>
                  <a:gd name="T20" fmla="*/ 9 w 124"/>
                  <a:gd name="T21" fmla="*/ 30 h 30"/>
                  <a:gd name="T22" fmla="*/ 15 w 124"/>
                  <a:gd name="T23" fmla="*/ 30 h 30"/>
                  <a:gd name="T24" fmla="*/ 107 w 124"/>
                  <a:gd name="T25" fmla="*/ 30 h 30"/>
                  <a:gd name="T26" fmla="*/ 107 w 124"/>
                  <a:gd name="T27" fmla="*/ 30 h 30"/>
                  <a:gd name="T28" fmla="*/ 114 w 124"/>
                  <a:gd name="T29" fmla="*/ 30 h 30"/>
                  <a:gd name="T30" fmla="*/ 119 w 124"/>
                  <a:gd name="T31" fmla="*/ 27 h 30"/>
                  <a:gd name="T32" fmla="*/ 122 w 124"/>
                  <a:gd name="T33" fmla="*/ 22 h 30"/>
                  <a:gd name="T34" fmla="*/ 124 w 124"/>
                  <a:gd name="T35" fmla="*/ 15 h 30"/>
                  <a:gd name="T36" fmla="*/ 124 w 124"/>
                  <a:gd name="T37" fmla="*/ 15 h 30"/>
                  <a:gd name="T38" fmla="*/ 122 w 124"/>
                  <a:gd name="T39" fmla="*/ 8 h 30"/>
                  <a:gd name="T40" fmla="*/ 119 w 124"/>
                  <a:gd name="T41" fmla="*/ 3 h 30"/>
                  <a:gd name="T42" fmla="*/ 114 w 124"/>
                  <a:gd name="T43" fmla="*/ 0 h 30"/>
                  <a:gd name="T44" fmla="*/ 107 w 124"/>
                  <a:gd name="T45" fmla="*/ 0 h 30"/>
                  <a:gd name="T46" fmla="*/ 107 w 124"/>
                  <a:gd name="T4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4" h="30">
                    <a:moveTo>
                      <a:pt x="107" y="0"/>
                    </a:moveTo>
                    <a:lnTo>
                      <a:pt x="15" y="0"/>
                    </a:lnTo>
                    <a:lnTo>
                      <a:pt x="15" y="0"/>
                    </a:lnTo>
                    <a:lnTo>
                      <a:pt x="9" y="0"/>
                    </a:lnTo>
                    <a:lnTo>
                      <a:pt x="4" y="3"/>
                    </a:lnTo>
                    <a:lnTo>
                      <a:pt x="0" y="8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2"/>
                    </a:lnTo>
                    <a:lnTo>
                      <a:pt x="4" y="27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07" y="30"/>
                    </a:lnTo>
                    <a:lnTo>
                      <a:pt x="107" y="30"/>
                    </a:lnTo>
                    <a:lnTo>
                      <a:pt x="114" y="30"/>
                    </a:lnTo>
                    <a:lnTo>
                      <a:pt x="119" y="27"/>
                    </a:lnTo>
                    <a:lnTo>
                      <a:pt x="122" y="22"/>
                    </a:lnTo>
                    <a:lnTo>
                      <a:pt x="124" y="15"/>
                    </a:lnTo>
                    <a:lnTo>
                      <a:pt x="124" y="15"/>
                    </a:lnTo>
                    <a:lnTo>
                      <a:pt x="122" y="8"/>
                    </a:lnTo>
                    <a:lnTo>
                      <a:pt x="119" y="3"/>
                    </a:lnTo>
                    <a:lnTo>
                      <a:pt x="114" y="0"/>
                    </a:lnTo>
                    <a:lnTo>
                      <a:pt x="107" y="0"/>
                    </a:lnTo>
                    <a:lnTo>
                      <a:pt x="10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17543845-D308-1D4C-8C9B-16A90B6580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3135" y="1945420"/>
                <a:ext cx="65733" cy="17241"/>
              </a:xfrm>
              <a:custGeom>
                <a:avLst/>
                <a:gdLst>
                  <a:gd name="T0" fmla="*/ 107 w 124"/>
                  <a:gd name="T1" fmla="*/ 0 h 32"/>
                  <a:gd name="T2" fmla="*/ 15 w 124"/>
                  <a:gd name="T3" fmla="*/ 0 h 32"/>
                  <a:gd name="T4" fmla="*/ 15 w 124"/>
                  <a:gd name="T5" fmla="*/ 0 h 32"/>
                  <a:gd name="T6" fmla="*/ 9 w 124"/>
                  <a:gd name="T7" fmla="*/ 2 h 32"/>
                  <a:gd name="T8" fmla="*/ 4 w 124"/>
                  <a:gd name="T9" fmla="*/ 5 h 32"/>
                  <a:gd name="T10" fmla="*/ 0 w 124"/>
                  <a:gd name="T11" fmla="*/ 10 h 32"/>
                  <a:gd name="T12" fmla="*/ 0 w 124"/>
                  <a:gd name="T13" fmla="*/ 17 h 32"/>
                  <a:gd name="T14" fmla="*/ 0 w 124"/>
                  <a:gd name="T15" fmla="*/ 17 h 32"/>
                  <a:gd name="T16" fmla="*/ 0 w 124"/>
                  <a:gd name="T17" fmla="*/ 23 h 32"/>
                  <a:gd name="T18" fmla="*/ 4 w 124"/>
                  <a:gd name="T19" fmla="*/ 28 h 32"/>
                  <a:gd name="T20" fmla="*/ 9 w 124"/>
                  <a:gd name="T21" fmla="*/ 32 h 32"/>
                  <a:gd name="T22" fmla="*/ 15 w 124"/>
                  <a:gd name="T23" fmla="*/ 32 h 32"/>
                  <a:gd name="T24" fmla="*/ 107 w 124"/>
                  <a:gd name="T25" fmla="*/ 32 h 32"/>
                  <a:gd name="T26" fmla="*/ 107 w 124"/>
                  <a:gd name="T27" fmla="*/ 32 h 32"/>
                  <a:gd name="T28" fmla="*/ 114 w 124"/>
                  <a:gd name="T29" fmla="*/ 32 h 32"/>
                  <a:gd name="T30" fmla="*/ 119 w 124"/>
                  <a:gd name="T31" fmla="*/ 28 h 32"/>
                  <a:gd name="T32" fmla="*/ 122 w 124"/>
                  <a:gd name="T33" fmla="*/ 23 h 32"/>
                  <a:gd name="T34" fmla="*/ 124 w 124"/>
                  <a:gd name="T35" fmla="*/ 17 h 32"/>
                  <a:gd name="T36" fmla="*/ 124 w 124"/>
                  <a:gd name="T37" fmla="*/ 17 h 32"/>
                  <a:gd name="T38" fmla="*/ 122 w 124"/>
                  <a:gd name="T39" fmla="*/ 10 h 32"/>
                  <a:gd name="T40" fmla="*/ 119 w 124"/>
                  <a:gd name="T41" fmla="*/ 5 h 32"/>
                  <a:gd name="T42" fmla="*/ 114 w 124"/>
                  <a:gd name="T43" fmla="*/ 2 h 32"/>
                  <a:gd name="T44" fmla="*/ 107 w 124"/>
                  <a:gd name="T45" fmla="*/ 0 h 32"/>
                  <a:gd name="T46" fmla="*/ 107 w 124"/>
                  <a:gd name="T4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4" h="32">
                    <a:moveTo>
                      <a:pt x="107" y="0"/>
                    </a:moveTo>
                    <a:lnTo>
                      <a:pt x="15" y="0"/>
                    </a:lnTo>
                    <a:lnTo>
                      <a:pt x="15" y="0"/>
                    </a:lnTo>
                    <a:lnTo>
                      <a:pt x="9" y="2"/>
                    </a:lnTo>
                    <a:lnTo>
                      <a:pt x="4" y="5"/>
                    </a:lnTo>
                    <a:lnTo>
                      <a:pt x="0" y="10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3"/>
                    </a:lnTo>
                    <a:lnTo>
                      <a:pt x="4" y="28"/>
                    </a:lnTo>
                    <a:lnTo>
                      <a:pt x="9" y="32"/>
                    </a:lnTo>
                    <a:lnTo>
                      <a:pt x="15" y="32"/>
                    </a:lnTo>
                    <a:lnTo>
                      <a:pt x="107" y="32"/>
                    </a:lnTo>
                    <a:lnTo>
                      <a:pt x="107" y="32"/>
                    </a:lnTo>
                    <a:lnTo>
                      <a:pt x="114" y="32"/>
                    </a:lnTo>
                    <a:lnTo>
                      <a:pt x="119" y="28"/>
                    </a:lnTo>
                    <a:lnTo>
                      <a:pt x="122" y="23"/>
                    </a:lnTo>
                    <a:lnTo>
                      <a:pt x="124" y="17"/>
                    </a:lnTo>
                    <a:lnTo>
                      <a:pt x="124" y="17"/>
                    </a:lnTo>
                    <a:lnTo>
                      <a:pt x="122" y="10"/>
                    </a:lnTo>
                    <a:lnTo>
                      <a:pt x="119" y="5"/>
                    </a:lnTo>
                    <a:lnTo>
                      <a:pt x="114" y="2"/>
                    </a:lnTo>
                    <a:lnTo>
                      <a:pt x="107" y="0"/>
                    </a:lnTo>
                    <a:lnTo>
                      <a:pt x="10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AF33565-7F71-A24B-829C-F81E24C14D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3135" y="1974516"/>
                <a:ext cx="65733" cy="17241"/>
              </a:xfrm>
              <a:custGeom>
                <a:avLst/>
                <a:gdLst>
                  <a:gd name="T0" fmla="*/ 107 w 124"/>
                  <a:gd name="T1" fmla="*/ 0 h 32"/>
                  <a:gd name="T2" fmla="*/ 15 w 124"/>
                  <a:gd name="T3" fmla="*/ 0 h 32"/>
                  <a:gd name="T4" fmla="*/ 15 w 124"/>
                  <a:gd name="T5" fmla="*/ 0 h 32"/>
                  <a:gd name="T6" fmla="*/ 9 w 124"/>
                  <a:gd name="T7" fmla="*/ 2 h 32"/>
                  <a:gd name="T8" fmla="*/ 4 w 124"/>
                  <a:gd name="T9" fmla="*/ 5 h 32"/>
                  <a:gd name="T10" fmla="*/ 0 w 124"/>
                  <a:gd name="T11" fmla="*/ 10 h 32"/>
                  <a:gd name="T12" fmla="*/ 0 w 124"/>
                  <a:gd name="T13" fmla="*/ 17 h 32"/>
                  <a:gd name="T14" fmla="*/ 0 w 124"/>
                  <a:gd name="T15" fmla="*/ 17 h 32"/>
                  <a:gd name="T16" fmla="*/ 0 w 124"/>
                  <a:gd name="T17" fmla="*/ 22 h 32"/>
                  <a:gd name="T18" fmla="*/ 4 w 124"/>
                  <a:gd name="T19" fmla="*/ 27 h 32"/>
                  <a:gd name="T20" fmla="*/ 9 w 124"/>
                  <a:gd name="T21" fmla="*/ 31 h 32"/>
                  <a:gd name="T22" fmla="*/ 15 w 124"/>
                  <a:gd name="T23" fmla="*/ 32 h 32"/>
                  <a:gd name="T24" fmla="*/ 107 w 124"/>
                  <a:gd name="T25" fmla="*/ 32 h 32"/>
                  <a:gd name="T26" fmla="*/ 107 w 124"/>
                  <a:gd name="T27" fmla="*/ 32 h 32"/>
                  <a:gd name="T28" fmla="*/ 114 w 124"/>
                  <a:gd name="T29" fmla="*/ 31 h 32"/>
                  <a:gd name="T30" fmla="*/ 119 w 124"/>
                  <a:gd name="T31" fmla="*/ 27 h 32"/>
                  <a:gd name="T32" fmla="*/ 122 w 124"/>
                  <a:gd name="T33" fmla="*/ 22 h 32"/>
                  <a:gd name="T34" fmla="*/ 124 w 124"/>
                  <a:gd name="T35" fmla="*/ 17 h 32"/>
                  <a:gd name="T36" fmla="*/ 124 w 124"/>
                  <a:gd name="T37" fmla="*/ 17 h 32"/>
                  <a:gd name="T38" fmla="*/ 122 w 124"/>
                  <a:gd name="T39" fmla="*/ 10 h 32"/>
                  <a:gd name="T40" fmla="*/ 119 w 124"/>
                  <a:gd name="T41" fmla="*/ 5 h 32"/>
                  <a:gd name="T42" fmla="*/ 114 w 124"/>
                  <a:gd name="T43" fmla="*/ 2 h 32"/>
                  <a:gd name="T44" fmla="*/ 107 w 124"/>
                  <a:gd name="T45" fmla="*/ 0 h 32"/>
                  <a:gd name="T46" fmla="*/ 107 w 124"/>
                  <a:gd name="T4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4" h="32">
                    <a:moveTo>
                      <a:pt x="107" y="0"/>
                    </a:moveTo>
                    <a:lnTo>
                      <a:pt x="15" y="0"/>
                    </a:lnTo>
                    <a:lnTo>
                      <a:pt x="15" y="0"/>
                    </a:lnTo>
                    <a:lnTo>
                      <a:pt x="9" y="2"/>
                    </a:lnTo>
                    <a:lnTo>
                      <a:pt x="4" y="5"/>
                    </a:lnTo>
                    <a:lnTo>
                      <a:pt x="0" y="10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2"/>
                    </a:lnTo>
                    <a:lnTo>
                      <a:pt x="4" y="27"/>
                    </a:lnTo>
                    <a:lnTo>
                      <a:pt x="9" y="31"/>
                    </a:lnTo>
                    <a:lnTo>
                      <a:pt x="15" y="32"/>
                    </a:lnTo>
                    <a:lnTo>
                      <a:pt x="107" y="32"/>
                    </a:lnTo>
                    <a:lnTo>
                      <a:pt x="107" y="32"/>
                    </a:lnTo>
                    <a:lnTo>
                      <a:pt x="114" y="31"/>
                    </a:lnTo>
                    <a:lnTo>
                      <a:pt x="119" y="27"/>
                    </a:lnTo>
                    <a:lnTo>
                      <a:pt x="122" y="22"/>
                    </a:lnTo>
                    <a:lnTo>
                      <a:pt x="124" y="17"/>
                    </a:lnTo>
                    <a:lnTo>
                      <a:pt x="124" y="17"/>
                    </a:lnTo>
                    <a:lnTo>
                      <a:pt x="122" y="10"/>
                    </a:lnTo>
                    <a:lnTo>
                      <a:pt x="119" y="5"/>
                    </a:lnTo>
                    <a:lnTo>
                      <a:pt x="114" y="2"/>
                    </a:lnTo>
                    <a:lnTo>
                      <a:pt x="107" y="0"/>
                    </a:lnTo>
                    <a:lnTo>
                      <a:pt x="10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" name="Rectangle 9">
                <a:extLst>
                  <a:ext uri="{FF2B5EF4-FFF2-40B4-BE49-F238E27FC236}">
                    <a16:creationId xmlns:a16="http://schemas.microsoft.com/office/drawing/2014/main" id="{BAEB4FD1-F27B-3349-9AEC-3AE4CA3F25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93738" y="2182491"/>
                <a:ext cx="36638" cy="1939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" name="Rectangle 10">
                <a:extLst>
                  <a:ext uri="{FF2B5EF4-FFF2-40B4-BE49-F238E27FC236}">
                    <a16:creationId xmlns:a16="http://schemas.microsoft.com/office/drawing/2014/main" id="{80F8C17F-E17F-2C41-AD66-3F5D77AE55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62704" y="2182491"/>
                <a:ext cx="34483" cy="1939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2B2A3334-E5A7-C14C-9EE3-3F51EF230A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31670" y="1867834"/>
                <a:ext cx="140087" cy="297416"/>
              </a:xfrm>
              <a:custGeom>
                <a:avLst/>
                <a:gdLst>
                  <a:gd name="T0" fmla="*/ 221 w 259"/>
                  <a:gd name="T1" fmla="*/ 0 h 552"/>
                  <a:gd name="T2" fmla="*/ 40 w 259"/>
                  <a:gd name="T3" fmla="*/ 0 h 552"/>
                  <a:gd name="T4" fmla="*/ 40 w 259"/>
                  <a:gd name="T5" fmla="*/ 0 h 552"/>
                  <a:gd name="T6" fmla="*/ 32 w 259"/>
                  <a:gd name="T7" fmla="*/ 0 h 552"/>
                  <a:gd name="T8" fmla="*/ 23 w 259"/>
                  <a:gd name="T9" fmla="*/ 4 h 552"/>
                  <a:gd name="T10" fmla="*/ 17 w 259"/>
                  <a:gd name="T11" fmla="*/ 7 h 552"/>
                  <a:gd name="T12" fmla="*/ 12 w 259"/>
                  <a:gd name="T13" fmla="*/ 12 h 552"/>
                  <a:gd name="T14" fmla="*/ 7 w 259"/>
                  <a:gd name="T15" fmla="*/ 17 h 552"/>
                  <a:gd name="T16" fmla="*/ 3 w 259"/>
                  <a:gd name="T17" fmla="*/ 24 h 552"/>
                  <a:gd name="T18" fmla="*/ 2 w 259"/>
                  <a:gd name="T19" fmla="*/ 32 h 552"/>
                  <a:gd name="T20" fmla="*/ 0 w 259"/>
                  <a:gd name="T21" fmla="*/ 39 h 552"/>
                  <a:gd name="T22" fmla="*/ 0 w 259"/>
                  <a:gd name="T23" fmla="*/ 512 h 552"/>
                  <a:gd name="T24" fmla="*/ 0 w 259"/>
                  <a:gd name="T25" fmla="*/ 512 h 552"/>
                  <a:gd name="T26" fmla="*/ 2 w 259"/>
                  <a:gd name="T27" fmla="*/ 520 h 552"/>
                  <a:gd name="T28" fmla="*/ 3 w 259"/>
                  <a:gd name="T29" fmla="*/ 527 h 552"/>
                  <a:gd name="T30" fmla="*/ 7 w 259"/>
                  <a:gd name="T31" fmla="*/ 534 h 552"/>
                  <a:gd name="T32" fmla="*/ 12 w 259"/>
                  <a:gd name="T33" fmla="*/ 540 h 552"/>
                  <a:gd name="T34" fmla="*/ 17 w 259"/>
                  <a:gd name="T35" fmla="*/ 545 h 552"/>
                  <a:gd name="T36" fmla="*/ 23 w 259"/>
                  <a:gd name="T37" fmla="*/ 549 h 552"/>
                  <a:gd name="T38" fmla="*/ 32 w 259"/>
                  <a:gd name="T39" fmla="*/ 550 h 552"/>
                  <a:gd name="T40" fmla="*/ 40 w 259"/>
                  <a:gd name="T41" fmla="*/ 552 h 552"/>
                  <a:gd name="T42" fmla="*/ 221 w 259"/>
                  <a:gd name="T43" fmla="*/ 552 h 552"/>
                  <a:gd name="T44" fmla="*/ 221 w 259"/>
                  <a:gd name="T45" fmla="*/ 552 h 552"/>
                  <a:gd name="T46" fmla="*/ 227 w 259"/>
                  <a:gd name="T47" fmla="*/ 550 h 552"/>
                  <a:gd name="T48" fmla="*/ 236 w 259"/>
                  <a:gd name="T49" fmla="*/ 549 h 552"/>
                  <a:gd name="T50" fmla="*/ 242 w 259"/>
                  <a:gd name="T51" fmla="*/ 545 h 552"/>
                  <a:gd name="T52" fmla="*/ 247 w 259"/>
                  <a:gd name="T53" fmla="*/ 540 h 552"/>
                  <a:gd name="T54" fmla="*/ 252 w 259"/>
                  <a:gd name="T55" fmla="*/ 534 h 552"/>
                  <a:gd name="T56" fmla="*/ 256 w 259"/>
                  <a:gd name="T57" fmla="*/ 527 h 552"/>
                  <a:gd name="T58" fmla="*/ 259 w 259"/>
                  <a:gd name="T59" fmla="*/ 520 h 552"/>
                  <a:gd name="T60" fmla="*/ 259 w 259"/>
                  <a:gd name="T61" fmla="*/ 512 h 552"/>
                  <a:gd name="T62" fmla="*/ 259 w 259"/>
                  <a:gd name="T63" fmla="*/ 39 h 552"/>
                  <a:gd name="T64" fmla="*/ 259 w 259"/>
                  <a:gd name="T65" fmla="*/ 39 h 552"/>
                  <a:gd name="T66" fmla="*/ 259 w 259"/>
                  <a:gd name="T67" fmla="*/ 32 h 552"/>
                  <a:gd name="T68" fmla="*/ 256 w 259"/>
                  <a:gd name="T69" fmla="*/ 24 h 552"/>
                  <a:gd name="T70" fmla="*/ 252 w 259"/>
                  <a:gd name="T71" fmla="*/ 17 h 552"/>
                  <a:gd name="T72" fmla="*/ 247 w 259"/>
                  <a:gd name="T73" fmla="*/ 12 h 552"/>
                  <a:gd name="T74" fmla="*/ 242 w 259"/>
                  <a:gd name="T75" fmla="*/ 7 h 552"/>
                  <a:gd name="T76" fmla="*/ 236 w 259"/>
                  <a:gd name="T77" fmla="*/ 4 h 552"/>
                  <a:gd name="T78" fmla="*/ 227 w 259"/>
                  <a:gd name="T79" fmla="*/ 0 h 552"/>
                  <a:gd name="T80" fmla="*/ 221 w 259"/>
                  <a:gd name="T81" fmla="*/ 0 h 552"/>
                  <a:gd name="T82" fmla="*/ 221 w 259"/>
                  <a:gd name="T83" fmla="*/ 0 h 552"/>
                  <a:gd name="T84" fmla="*/ 222 w 259"/>
                  <a:gd name="T85" fmla="*/ 512 h 552"/>
                  <a:gd name="T86" fmla="*/ 222 w 259"/>
                  <a:gd name="T87" fmla="*/ 512 h 552"/>
                  <a:gd name="T88" fmla="*/ 222 w 259"/>
                  <a:gd name="T89" fmla="*/ 513 h 552"/>
                  <a:gd name="T90" fmla="*/ 221 w 259"/>
                  <a:gd name="T91" fmla="*/ 515 h 552"/>
                  <a:gd name="T92" fmla="*/ 40 w 259"/>
                  <a:gd name="T93" fmla="*/ 515 h 552"/>
                  <a:gd name="T94" fmla="*/ 40 w 259"/>
                  <a:gd name="T95" fmla="*/ 515 h 552"/>
                  <a:gd name="T96" fmla="*/ 38 w 259"/>
                  <a:gd name="T97" fmla="*/ 513 h 552"/>
                  <a:gd name="T98" fmla="*/ 37 w 259"/>
                  <a:gd name="T99" fmla="*/ 512 h 552"/>
                  <a:gd name="T100" fmla="*/ 37 w 259"/>
                  <a:gd name="T101" fmla="*/ 39 h 552"/>
                  <a:gd name="T102" fmla="*/ 37 w 259"/>
                  <a:gd name="T103" fmla="*/ 39 h 552"/>
                  <a:gd name="T104" fmla="*/ 38 w 259"/>
                  <a:gd name="T105" fmla="*/ 37 h 552"/>
                  <a:gd name="T106" fmla="*/ 40 w 259"/>
                  <a:gd name="T107" fmla="*/ 37 h 552"/>
                  <a:gd name="T108" fmla="*/ 221 w 259"/>
                  <a:gd name="T109" fmla="*/ 37 h 552"/>
                  <a:gd name="T110" fmla="*/ 221 w 259"/>
                  <a:gd name="T111" fmla="*/ 37 h 552"/>
                  <a:gd name="T112" fmla="*/ 222 w 259"/>
                  <a:gd name="T113" fmla="*/ 37 h 552"/>
                  <a:gd name="T114" fmla="*/ 222 w 259"/>
                  <a:gd name="T115" fmla="*/ 39 h 552"/>
                  <a:gd name="T116" fmla="*/ 222 w 259"/>
                  <a:gd name="T117" fmla="*/ 512 h 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59" h="552">
                    <a:moveTo>
                      <a:pt x="221" y="0"/>
                    </a:move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3" y="4"/>
                    </a:lnTo>
                    <a:lnTo>
                      <a:pt x="17" y="7"/>
                    </a:lnTo>
                    <a:lnTo>
                      <a:pt x="12" y="12"/>
                    </a:lnTo>
                    <a:lnTo>
                      <a:pt x="7" y="17"/>
                    </a:lnTo>
                    <a:lnTo>
                      <a:pt x="3" y="24"/>
                    </a:lnTo>
                    <a:lnTo>
                      <a:pt x="2" y="32"/>
                    </a:lnTo>
                    <a:lnTo>
                      <a:pt x="0" y="39"/>
                    </a:lnTo>
                    <a:lnTo>
                      <a:pt x="0" y="512"/>
                    </a:lnTo>
                    <a:lnTo>
                      <a:pt x="0" y="512"/>
                    </a:lnTo>
                    <a:lnTo>
                      <a:pt x="2" y="520"/>
                    </a:lnTo>
                    <a:lnTo>
                      <a:pt x="3" y="527"/>
                    </a:lnTo>
                    <a:lnTo>
                      <a:pt x="7" y="534"/>
                    </a:lnTo>
                    <a:lnTo>
                      <a:pt x="12" y="540"/>
                    </a:lnTo>
                    <a:lnTo>
                      <a:pt x="17" y="545"/>
                    </a:lnTo>
                    <a:lnTo>
                      <a:pt x="23" y="549"/>
                    </a:lnTo>
                    <a:lnTo>
                      <a:pt x="32" y="550"/>
                    </a:lnTo>
                    <a:lnTo>
                      <a:pt x="40" y="552"/>
                    </a:lnTo>
                    <a:lnTo>
                      <a:pt x="221" y="552"/>
                    </a:lnTo>
                    <a:lnTo>
                      <a:pt x="221" y="552"/>
                    </a:lnTo>
                    <a:lnTo>
                      <a:pt x="227" y="550"/>
                    </a:lnTo>
                    <a:lnTo>
                      <a:pt x="236" y="549"/>
                    </a:lnTo>
                    <a:lnTo>
                      <a:pt x="242" y="545"/>
                    </a:lnTo>
                    <a:lnTo>
                      <a:pt x="247" y="540"/>
                    </a:lnTo>
                    <a:lnTo>
                      <a:pt x="252" y="534"/>
                    </a:lnTo>
                    <a:lnTo>
                      <a:pt x="256" y="527"/>
                    </a:lnTo>
                    <a:lnTo>
                      <a:pt x="259" y="520"/>
                    </a:lnTo>
                    <a:lnTo>
                      <a:pt x="259" y="512"/>
                    </a:lnTo>
                    <a:lnTo>
                      <a:pt x="259" y="39"/>
                    </a:lnTo>
                    <a:lnTo>
                      <a:pt x="259" y="39"/>
                    </a:lnTo>
                    <a:lnTo>
                      <a:pt x="259" y="32"/>
                    </a:lnTo>
                    <a:lnTo>
                      <a:pt x="256" y="24"/>
                    </a:lnTo>
                    <a:lnTo>
                      <a:pt x="252" y="17"/>
                    </a:lnTo>
                    <a:lnTo>
                      <a:pt x="247" y="12"/>
                    </a:lnTo>
                    <a:lnTo>
                      <a:pt x="242" y="7"/>
                    </a:lnTo>
                    <a:lnTo>
                      <a:pt x="236" y="4"/>
                    </a:lnTo>
                    <a:lnTo>
                      <a:pt x="227" y="0"/>
                    </a:lnTo>
                    <a:lnTo>
                      <a:pt x="221" y="0"/>
                    </a:lnTo>
                    <a:lnTo>
                      <a:pt x="221" y="0"/>
                    </a:lnTo>
                    <a:close/>
                    <a:moveTo>
                      <a:pt x="222" y="512"/>
                    </a:moveTo>
                    <a:lnTo>
                      <a:pt x="222" y="512"/>
                    </a:lnTo>
                    <a:lnTo>
                      <a:pt x="222" y="513"/>
                    </a:lnTo>
                    <a:lnTo>
                      <a:pt x="221" y="515"/>
                    </a:lnTo>
                    <a:lnTo>
                      <a:pt x="40" y="515"/>
                    </a:lnTo>
                    <a:lnTo>
                      <a:pt x="40" y="515"/>
                    </a:lnTo>
                    <a:lnTo>
                      <a:pt x="38" y="513"/>
                    </a:lnTo>
                    <a:lnTo>
                      <a:pt x="37" y="512"/>
                    </a:lnTo>
                    <a:lnTo>
                      <a:pt x="37" y="39"/>
                    </a:lnTo>
                    <a:lnTo>
                      <a:pt x="37" y="39"/>
                    </a:lnTo>
                    <a:lnTo>
                      <a:pt x="38" y="37"/>
                    </a:lnTo>
                    <a:lnTo>
                      <a:pt x="40" y="37"/>
                    </a:lnTo>
                    <a:lnTo>
                      <a:pt x="221" y="37"/>
                    </a:lnTo>
                    <a:lnTo>
                      <a:pt x="221" y="37"/>
                    </a:lnTo>
                    <a:lnTo>
                      <a:pt x="222" y="37"/>
                    </a:lnTo>
                    <a:lnTo>
                      <a:pt x="222" y="39"/>
                    </a:lnTo>
                    <a:lnTo>
                      <a:pt x="222" y="5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CCAEE2DE-6FE5-2147-9019-335B1B22A0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8308" y="1917403"/>
                <a:ext cx="66811" cy="16164"/>
              </a:xfrm>
              <a:custGeom>
                <a:avLst/>
                <a:gdLst>
                  <a:gd name="T0" fmla="*/ 107 w 124"/>
                  <a:gd name="T1" fmla="*/ 0 h 30"/>
                  <a:gd name="T2" fmla="*/ 16 w 124"/>
                  <a:gd name="T3" fmla="*/ 0 h 30"/>
                  <a:gd name="T4" fmla="*/ 16 w 124"/>
                  <a:gd name="T5" fmla="*/ 0 h 30"/>
                  <a:gd name="T6" fmla="*/ 9 w 124"/>
                  <a:gd name="T7" fmla="*/ 0 h 30"/>
                  <a:gd name="T8" fmla="*/ 4 w 124"/>
                  <a:gd name="T9" fmla="*/ 3 h 30"/>
                  <a:gd name="T10" fmla="*/ 0 w 124"/>
                  <a:gd name="T11" fmla="*/ 8 h 30"/>
                  <a:gd name="T12" fmla="*/ 0 w 124"/>
                  <a:gd name="T13" fmla="*/ 15 h 30"/>
                  <a:gd name="T14" fmla="*/ 0 w 124"/>
                  <a:gd name="T15" fmla="*/ 15 h 30"/>
                  <a:gd name="T16" fmla="*/ 0 w 124"/>
                  <a:gd name="T17" fmla="*/ 22 h 30"/>
                  <a:gd name="T18" fmla="*/ 4 w 124"/>
                  <a:gd name="T19" fmla="*/ 27 h 30"/>
                  <a:gd name="T20" fmla="*/ 9 w 124"/>
                  <a:gd name="T21" fmla="*/ 30 h 30"/>
                  <a:gd name="T22" fmla="*/ 16 w 124"/>
                  <a:gd name="T23" fmla="*/ 30 h 30"/>
                  <a:gd name="T24" fmla="*/ 107 w 124"/>
                  <a:gd name="T25" fmla="*/ 30 h 30"/>
                  <a:gd name="T26" fmla="*/ 107 w 124"/>
                  <a:gd name="T27" fmla="*/ 30 h 30"/>
                  <a:gd name="T28" fmla="*/ 114 w 124"/>
                  <a:gd name="T29" fmla="*/ 30 h 30"/>
                  <a:gd name="T30" fmla="*/ 119 w 124"/>
                  <a:gd name="T31" fmla="*/ 27 h 30"/>
                  <a:gd name="T32" fmla="*/ 123 w 124"/>
                  <a:gd name="T33" fmla="*/ 22 h 30"/>
                  <a:gd name="T34" fmla="*/ 124 w 124"/>
                  <a:gd name="T35" fmla="*/ 15 h 30"/>
                  <a:gd name="T36" fmla="*/ 124 w 124"/>
                  <a:gd name="T37" fmla="*/ 15 h 30"/>
                  <a:gd name="T38" fmla="*/ 123 w 124"/>
                  <a:gd name="T39" fmla="*/ 8 h 30"/>
                  <a:gd name="T40" fmla="*/ 119 w 124"/>
                  <a:gd name="T41" fmla="*/ 3 h 30"/>
                  <a:gd name="T42" fmla="*/ 114 w 124"/>
                  <a:gd name="T43" fmla="*/ 0 h 30"/>
                  <a:gd name="T44" fmla="*/ 107 w 124"/>
                  <a:gd name="T45" fmla="*/ 0 h 30"/>
                  <a:gd name="T46" fmla="*/ 107 w 124"/>
                  <a:gd name="T4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4" h="30">
                    <a:moveTo>
                      <a:pt x="107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4" y="3"/>
                    </a:lnTo>
                    <a:lnTo>
                      <a:pt x="0" y="8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2"/>
                    </a:lnTo>
                    <a:lnTo>
                      <a:pt x="4" y="27"/>
                    </a:lnTo>
                    <a:lnTo>
                      <a:pt x="9" y="30"/>
                    </a:lnTo>
                    <a:lnTo>
                      <a:pt x="16" y="30"/>
                    </a:lnTo>
                    <a:lnTo>
                      <a:pt x="107" y="30"/>
                    </a:lnTo>
                    <a:lnTo>
                      <a:pt x="107" y="30"/>
                    </a:lnTo>
                    <a:lnTo>
                      <a:pt x="114" y="30"/>
                    </a:lnTo>
                    <a:lnTo>
                      <a:pt x="119" y="27"/>
                    </a:lnTo>
                    <a:lnTo>
                      <a:pt x="123" y="22"/>
                    </a:lnTo>
                    <a:lnTo>
                      <a:pt x="124" y="15"/>
                    </a:lnTo>
                    <a:lnTo>
                      <a:pt x="124" y="15"/>
                    </a:lnTo>
                    <a:lnTo>
                      <a:pt x="123" y="8"/>
                    </a:lnTo>
                    <a:lnTo>
                      <a:pt x="119" y="3"/>
                    </a:lnTo>
                    <a:lnTo>
                      <a:pt x="114" y="0"/>
                    </a:lnTo>
                    <a:lnTo>
                      <a:pt x="107" y="0"/>
                    </a:lnTo>
                    <a:lnTo>
                      <a:pt x="10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DB46C7D1-B90D-DE4B-82AE-14E2DB3DB7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8308" y="1945420"/>
                <a:ext cx="66811" cy="17241"/>
              </a:xfrm>
              <a:custGeom>
                <a:avLst/>
                <a:gdLst>
                  <a:gd name="T0" fmla="*/ 107 w 124"/>
                  <a:gd name="T1" fmla="*/ 0 h 32"/>
                  <a:gd name="T2" fmla="*/ 16 w 124"/>
                  <a:gd name="T3" fmla="*/ 0 h 32"/>
                  <a:gd name="T4" fmla="*/ 16 w 124"/>
                  <a:gd name="T5" fmla="*/ 0 h 32"/>
                  <a:gd name="T6" fmla="*/ 9 w 124"/>
                  <a:gd name="T7" fmla="*/ 2 h 32"/>
                  <a:gd name="T8" fmla="*/ 4 w 124"/>
                  <a:gd name="T9" fmla="*/ 5 h 32"/>
                  <a:gd name="T10" fmla="*/ 0 w 124"/>
                  <a:gd name="T11" fmla="*/ 10 h 32"/>
                  <a:gd name="T12" fmla="*/ 0 w 124"/>
                  <a:gd name="T13" fmla="*/ 17 h 32"/>
                  <a:gd name="T14" fmla="*/ 0 w 124"/>
                  <a:gd name="T15" fmla="*/ 17 h 32"/>
                  <a:gd name="T16" fmla="*/ 0 w 124"/>
                  <a:gd name="T17" fmla="*/ 23 h 32"/>
                  <a:gd name="T18" fmla="*/ 4 w 124"/>
                  <a:gd name="T19" fmla="*/ 28 h 32"/>
                  <a:gd name="T20" fmla="*/ 9 w 124"/>
                  <a:gd name="T21" fmla="*/ 32 h 32"/>
                  <a:gd name="T22" fmla="*/ 16 w 124"/>
                  <a:gd name="T23" fmla="*/ 32 h 32"/>
                  <a:gd name="T24" fmla="*/ 107 w 124"/>
                  <a:gd name="T25" fmla="*/ 32 h 32"/>
                  <a:gd name="T26" fmla="*/ 107 w 124"/>
                  <a:gd name="T27" fmla="*/ 32 h 32"/>
                  <a:gd name="T28" fmla="*/ 114 w 124"/>
                  <a:gd name="T29" fmla="*/ 32 h 32"/>
                  <a:gd name="T30" fmla="*/ 119 w 124"/>
                  <a:gd name="T31" fmla="*/ 28 h 32"/>
                  <a:gd name="T32" fmla="*/ 123 w 124"/>
                  <a:gd name="T33" fmla="*/ 23 h 32"/>
                  <a:gd name="T34" fmla="*/ 124 w 124"/>
                  <a:gd name="T35" fmla="*/ 17 h 32"/>
                  <a:gd name="T36" fmla="*/ 124 w 124"/>
                  <a:gd name="T37" fmla="*/ 17 h 32"/>
                  <a:gd name="T38" fmla="*/ 123 w 124"/>
                  <a:gd name="T39" fmla="*/ 10 h 32"/>
                  <a:gd name="T40" fmla="*/ 119 w 124"/>
                  <a:gd name="T41" fmla="*/ 5 h 32"/>
                  <a:gd name="T42" fmla="*/ 114 w 124"/>
                  <a:gd name="T43" fmla="*/ 2 h 32"/>
                  <a:gd name="T44" fmla="*/ 107 w 124"/>
                  <a:gd name="T45" fmla="*/ 0 h 32"/>
                  <a:gd name="T46" fmla="*/ 107 w 124"/>
                  <a:gd name="T4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4" h="32">
                    <a:moveTo>
                      <a:pt x="107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9" y="2"/>
                    </a:lnTo>
                    <a:lnTo>
                      <a:pt x="4" y="5"/>
                    </a:lnTo>
                    <a:lnTo>
                      <a:pt x="0" y="10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3"/>
                    </a:lnTo>
                    <a:lnTo>
                      <a:pt x="4" y="28"/>
                    </a:lnTo>
                    <a:lnTo>
                      <a:pt x="9" y="32"/>
                    </a:lnTo>
                    <a:lnTo>
                      <a:pt x="16" y="32"/>
                    </a:lnTo>
                    <a:lnTo>
                      <a:pt x="107" y="32"/>
                    </a:lnTo>
                    <a:lnTo>
                      <a:pt x="107" y="32"/>
                    </a:lnTo>
                    <a:lnTo>
                      <a:pt x="114" y="32"/>
                    </a:lnTo>
                    <a:lnTo>
                      <a:pt x="119" y="28"/>
                    </a:lnTo>
                    <a:lnTo>
                      <a:pt x="123" y="23"/>
                    </a:lnTo>
                    <a:lnTo>
                      <a:pt x="124" y="17"/>
                    </a:lnTo>
                    <a:lnTo>
                      <a:pt x="124" y="17"/>
                    </a:lnTo>
                    <a:lnTo>
                      <a:pt x="123" y="10"/>
                    </a:lnTo>
                    <a:lnTo>
                      <a:pt x="119" y="5"/>
                    </a:lnTo>
                    <a:lnTo>
                      <a:pt x="114" y="2"/>
                    </a:lnTo>
                    <a:lnTo>
                      <a:pt x="107" y="0"/>
                    </a:lnTo>
                    <a:lnTo>
                      <a:pt x="10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13F6EC3C-C08F-4344-A99F-EC4F64E968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8308" y="1974516"/>
                <a:ext cx="66811" cy="17241"/>
              </a:xfrm>
              <a:custGeom>
                <a:avLst/>
                <a:gdLst>
                  <a:gd name="T0" fmla="*/ 107 w 124"/>
                  <a:gd name="T1" fmla="*/ 0 h 32"/>
                  <a:gd name="T2" fmla="*/ 16 w 124"/>
                  <a:gd name="T3" fmla="*/ 0 h 32"/>
                  <a:gd name="T4" fmla="*/ 16 w 124"/>
                  <a:gd name="T5" fmla="*/ 0 h 32"/>
                  <a:gd name="T6" fmla="*/ 9 w 124"/>
                  <a:gd name="T7" fmla="*/ 2 h 32"/>
                  <a:gd name="T8" fmla="*/ 4 w 124"/>
                  <a:gd name="T9" fmla="*/ 5 h 32"/>
                  <a:gd name="T10" fmla="*/ 0 w 124"/>
                  <a:gd name="T11" fmla="*/ 10 h 32"/>
                  <a:gd name="T12" fmla="*/ 0 w 124"/>
                  <a:gd name="T13" fmla="*/ 17 h 32"/>
                  <a:gd name="T14" fmla="*/ 0 w 124"/>
                  <a:gd name="T15" fmla="*/ 17 h 32"/>
                  <a:gd name="T16" fmla="*/ 0 w 124"/>
                  <a:gd name="T17" fmla="*/ 22 h 32"/>
                  <a:gd name="T18" fmla="*/ 4 w 124"/>
                  <a:gd name="T19" fmla="*/ 27 h 32"/>
                  <a:gd name="T20" fmla="*/ 9 w 124"/>
                  <a:gd name="T21" fmla="*/ 31 h 32"/>
                  <a:gd name="T22" fmla="*/ 16 w 124"/>
                  <a:gd name="T23" fmla="*/ 32 h 32"/>
                  <a:gd name="T24" fmla="*/ 107 w 124"/>
                  <a:gd name="T25" fmla="*/ 32 h 32"/>
                  <a:gd name="T26" fmla="*/ 107 w 124"/>
                  <a:gd name="T27" fmla="*/ 32 h 32"/>
                  <a:gd name="T28" fmla="*/ 114 w 124"/>
                  <a:gd name="T29" fmla="*/ 31 h 32"/>
                  <a:gd name="T30" fmla="*/ 119 w 124"/>
                  <a:gd name="T31" fmla="*/ 27 h 32"/>
                  <a:gd name="T32" fmla="*/ 123 w 124"/>
                  <a:gd name="T33" fmla="*/ 22 h 32"/>
                  <a:gd name="T34" fmla="*/ 124 w 124"/>
                  <a:gd name="T35" fmla="*/ 17 h 32"/>
                  <a:gd name="T36" fmla="*/ 124 w 124"/>
                  <a:gd name="T37" fmla="*/ 17 h 32"/>
                  <a:gd name="T38" fmla="*/ 123 w 124"/>
                  <a:gd name="T39" fmla="*/ 10 h 32"/>
                  <a:gd name="T40" fmla="*/ 119 w 124"/>
                  <a:gd name="T41" fmla="*/ 5 h 32"/>
                  <a:gd name="T42" fmla="*/ 114 w 124"/>
                  <a:gd name="T43" fmla="*/ 2 h 32"/>
                  <a:gd name="T44" fmla="*/ 107 w 124"/>
                  <a:gd name="T45" fmla="*/ 0 h 32"/>
                  <a:gd name="T46" fmla="*/ 107 w 124"/>
                  <a:gd name="T4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4" h="32">
                    <a:moveTo>
                      <a:pt x="107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9" y="2"/>
                    </a:lnTo>
                    <a:lnTo>
                      <a:pt x="4" y="5"/>
                    </a:lnTo>
                    <a:lnTo>
                      <a:pt x="0" y="10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2"/>
                    </a:lnTo>
                    <a:lnTo>
                      <a:pt x="4" y="27"/>
                    </a:lnTo>
                    <a:lnTo>
                      <a:pt x="9" y="31"/>
                    </a:lnTo>
                    <a:lnTo>
                      <a:pt x="16" y="32"/>
                    </a:lnTo>
                    <a:lnTo>
                      <a:pt x="107" y="32"/>
                    </a:lnTo>
                    <a:lnTo>
                      <a:pt x="107" y="32"/>
                    </a:lnTo>
                    <a:lnTo>
                      <a:pt x="114" y="31"/>
                    </a:lnTo>
                    <a:lnTo>
                      <a:pt x="119" y="27"/>
                    </a:lnTo>
                    <a:lnTo>
                      <a:pt x="123" y="22"/>
                    </a:lnTo>
                    <a:lnTo>
                      <a:pt x="124" y="17"/>
                    </a:lnTo>
                    <a:lnTo>
                      <a:pt x="124" y="17"/>
                    </a:lnTo>
                    <a:lnTo>
                      <a:pt x="123" y="10"/>
                    </a:lnTo>
                    <a:lnTo>
                      <a:pt x="119" y="5"/>
                    </a:lnTo>
                    <a:lnTo>
                      <a:pt x="114" y="2"/>
                    </a:lnTo>
                    <a:lnTo>
                      <a:pt x="107" y="0"/>
                    </a:lnTo>
                    <a:lnTo>
                      <a:pt x="10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" name="Rectangle 15">
                <a:extLst>
                  <a:ext uri="{FF2B5EF4-FFF2-40B4-BE49-F238E27FC236}">
                    <a16:creationId xmlns:a16="http://schemas.microsoft.com/office/drawing/2014/main" id="{8A99CD20-42E8-1147-881B-286AF07174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9989" y="2182491"/>
                <a:ext cx="35561" cy="1939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" name="Rectangle 16">
                <a:extLst>
                  <a:ext uri="{FF2B5EF4-FFF2-40B4-BE49-F238E27FC236}">
                    <a16:creationId xmlns:a16="http://schemas.microsoft.com/office/drawing/2014/main" id="{797723C1-E9A6-6F48-9C1C-662F657E2E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17877" y="2182491"/>
                <a:ext cx="35561" cy="1939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9BE434D-67F4-0740-B1ED-6A82735295F3}"/>
              </a:ext>
            </a:extLst>
          </p:cNvPr>
          <p:cNvGrpSpPr/>
          <p:nvPr/>
        </p:nvGrpSpPr>
        <p:grpSpPr>
          <a:xfrm>
            <a:off x="3960837" y="3096071"/>
            <a:ext cx="3600400" cy="792088"/>
            <a:chOff x="4176861" y="2952055"/>
            <a:chExt cx="3600400" cy="792088"/>
          </a:xfrm>
        </p:grpSpPr>
        <p:sp>
          <p:nvSpPr>
            <p:cNvPr id="194" name="Rechteck 14">
              <a:extLst>
                <a:ext uri="{FF2B5EF4-FFF2-40B4-BE49-F238E27FC236}">
                  <a16:creationId xmlns:a16="http://schemas.microsoft.com/office/drawing/2014/main" id="{8971B025-71D7-A949-852E-F185044A8240}"/>
                </a:ext>
              </a:extLst>
            </p:cNvPr>
            <p:cNvSpPr/>
            <p:nvPr/>
          </p:nvSpPr>
          <p:spPr bwMode="gray">
            <a:xfrm>
              <a:off x="4176861" y="2952055"/>
              <a:ext cx="3600400" cy="792088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l">
                <a:buClr>
                  <a:srgbClr val="9B9B9B"/>
                </a:buClr>
              </a:pPr>
              <a:r>
                <a:rPr lang="en-US" sz="2800" b="1" dirty="0"/>
                <a:t>~230K</a:t>
              </a:r>
              <a:r>
                <a:rPr lang="en-US" sz="2800" dirty="0"/>
                <a:t> </a:t>
              </a:r>
              <a:r>
                <a:rPr lang="en-US" sz="2000" dirty="0">
                  <a:solidFill>
                    <a:schemeClr val="bg1"/>
                  </a:solidFill>
                </a:rPr>
                <a:t>lines of code</a:t>
              </a:r>
              <a:endParaRPr lang="de-DE" sz="2000" kern="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A476240D-E066-304E-90A5-A4773BD55B59}"/>
                </a:ext>
              </a:extLst>
            </p:cNvPr>
            <p:cNvGrpSpPr/>
            <p:nvPr/>
          </p:nvGrpSpPr>
          <p:grpSpPr>
            <a:xfrm>
              <a:off x="6841157" y="3024063"/>
              <a:ext cx="720080" cy="576064"/>
              <a:chOff x="3534690" y="3765475"/>
              <a:chExt cx="399787" cy="385779"/>
            </a:xfrm>
            <a:solidFill>
              <a:schemeClr val="tx1"/>
            </a:solidFill>
          </p:grpSpPr>
          <p:sp>
            <p:nvSpPr>
              <p:cNvPr id="138" name="Freeform 156">
                <a:extLst>
                  <a:ext uri="{FF2B5EF4-FFF2-40B4-BE49-F238E27FC236}">
                    <a16:creationId xmlns:a16="http://schemas.microsoft.com/office/drawing/2014/main" id="{E9344F4E-8931-184B-BFAA-D446B2B569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34690" y="3919571"/>
                <a:ext cx="399787" cy="231683"/>
              </a:xfrm>
              <a:custGeom>
                <a:avLst/>
                <a:gdLst>
                  <a:gd name="T0" fmla="*/ 59 w 742"/>
                  <a:gd name="T1" fmla="*/ 0 h 430"/>
                  <a:gd name="T2" fmla="*/ 27 w 742"/>
                  <a:gd name="T3" fmla="*/ 10 h 430"/>
                  <a:gd name="T4" fmla="*/ 5 w 742"/>
                  <a:gd name="T5" fmla="*/ 35 h 430"/>
                  <a:gd name="T6" fmla="*/ 0 w 742"/>
                  <a:gd name="T7" fmla="*/ 373 h 430"/>
                  <a:gd name="T8" fmla="*/ 5 w 742"/>
                  <a:gd name="T9" fmla="*/ 394 h 430"/>
                  <a:gd name="T10" fmla="*/ 27 w 742"/>
                  <a:gd name="T11" fmla="*/ 420 h 430"/>
                  <a:gd name="T12" fmla="*/ 59 w 742"/>
                  <a:gd name="T13" fmla="*/ 430 h 430"/>
                  <a:gd name="T14" fmla="*/ 696 w 742"/>
                  <a:gd name="T15" fmla="*/ 430 h 430"/>
                  <a:gd name="T16" fmla="*/ 724 w 742"/>
                  <a:gd name="T17" fmla="*/ 413 h 430"/>
                  <a:gd name="T18" fmla="*/ 741 w 742"/>
                  <a:gd name="T19" fmla="*/ 384 h 430"/>
                  <a:gd name="T20" fmla="*/ 742 w 742"/>
                  <a:gd name="T21" fmla="*/ 58 h 430"/>
                  <a:gd name="T22" fmla="*/ 732 w 742"/>
                  <a:gd name="T23" fmla="*/ 27 h 430"/>
                  <a:gd name="T24" fmla="*/ 706 w 742"/>
                  <a:gd name="T25" fmla="*/ 5 h 430"/>
                  <a:gd name="T26" fmla="*/ 684 w 742"/>
                  <a:gd name="T27" fmla="*/ 0 h 430"/>
                  <a:gd name="T28" fmla="*/ 684 w 742"/>
                  <a:gd name="T29" fmla="*/ 42 h 430"/>
                  <a:gd name="T30" fmla="*/ 699 w 742"/>
                  <a:gd name="T31" fmla="*/ 52 h 430"/>
                  <a:gd name="T32" fmla="*/ 42 w 742"/>
                  <a:gd name="T33" fmla="*/ 99 h 430"/>
                  <a:gd name="T34" fmla="*/ 44 w 742"/>
                  <a:gd name="T35" fmla="*/ 52 h 430"/>
                  <a:gd name="T36" fmla="*/ 59 w 742"/>
                  <a:gd name="T37" fmla="*/ 42 h 430"/>
                  <a:gd name="T38" fmla="*/ 600 w 742"/>
                  <a:gd name="T39" fmla="*/ 194 h 430"/>
                  <a:gd name="T40" fmla="*/ 600 w 742"/>
                  <a:gd name="T41" fmla="*/ 139 h 430"/>
                  <a:gd name="T42" fmla="*/ 442 w 742"/>
                  <a:gd name="T43" fmla="*/ 139 h 430"/>
                  <a:gd name="T44" fmla="*/ 442 w 742"/>
                  <a:gd name="T45" fmla="*/ 291 h 430"/>
                  <a:gd name="T46" fmla="*/ 500 w 742"/>
                  <a:gd name="T47" fmla="*/ 291 h 430"/>
                  <a:gd name="T48" fmla="*/ 243 w 742"/>
                  <a:gd name="T49" fmla="*/ 236 h 430"/>
                  <a:gd name="T50" fmla="*/ 243 w 742"/>
                  <a:gd name="T51" fmla="*/ 291 h 430"/>
                  <a:gd name="T52" fmla="*/ 401 w 742"/>
                  <a:gd name="T53" fmla="*/ 291 h 430"/>
                  <a:gd name="T54" fmla="*/ 401 w 742"/>
                  <a:gd name="T55" fmla="*/ 194 h 430"/>
                  <a:gd name="T56" fmla="*/ 401 w 742"/>
                  <a:gd name="T57" fmla="*/ 139 h 430"/>
                  <a:gd name="T58" fmla="*/ 243 w 742"/>
                  <a:gd name="T59" fmla="*/ 194 h 430"/>
                  <a:gd name="T60" fmla="*/ 301 w 742"/>
                  <a:gd name="T61" fmla="*/ 194 h 430"/>
                  <a:gd name="T62" fmla="*/ 142 w 742"/>
                  <a:gd name="T63" fmla="*/ 139 h 430"/>
                  <a:gd name="T64" fmla="*/ 101 w 742"/>
                  <a:gd name="T65" fmla="*/ 194 h 430"/>
                  <a:gd name="T66" fmla="*/ 101 w 742"/>
                  <a:gd name="T67" fmla="*/ 139 h 430"/>
                  <a:gd name="T68" fmla="*/ 101 w 742"/>
                  <a:gd name="T69" fmla="*/ 291 h 430"/>
                  <a:gd name="T70" fmla="*/ 101 w 742"/>
                  <a:gd name="T71" fmla="*/ 236 h 430"/>
                  <a:gd name="T72" fmla="*/ 201 w 742"/>
                  <a:gd name="T73" fmla="*/ 291 h 430"/>
                  <a:gd name="T74" fmla="*/ 600 w 742"/>
                  <a:gd name="T75" fmla="*/ 333 h 430"/>
                  <a:gd name="T76" fmla="*/ 142 w 742"/>
                  <a:gd name="T77" fmla="*/ 333 h 430"/>
                  <a:gd name="T78" fmla="*/ 542 w 742"/>
                  <a:gd name="T79" fmla="*/ 236 h 430"/>
                  <a:gd name="T80" fmla="*/ 542 w 742"/>
                  <a:gd name="T81" fmla="*/ 291 h 430"/>
                  <a:gd name="T82" fmla="*/ 701 w 742"/>
                  <a:gd name="T83" fmla="*/ 291 h 430"/>
                  <a:gd name="T84" fmla="*/ 642 w 742"/>
                  <a:gd name="T85" fmla="*/ 194 h 430"/>
                  <a:gd name="T86" fmla="*/ 701 w 742"/>
                  <a:gd name="T87" fmla="*/ 194 h 430"/>
                  <a:gd name="T88" fmla="*/ 42 w 742"/>
                  <a:gd name="T89" fmla="*/ 333 h 430"/>
                  <a:gd name="T90" fmla="*/ 59 w 742"/>
                  <a:gd name="T91" fmla="*/ 389 h 430"/>
                  <a:gd name="T92" fmla="*/ 47 w 742"/>
                  <a:gd name="T93" fmla="*/ 384 h 430"/>
                  <a:gd name="T94" fmla="*/ 42 w 742"/>
                  <a:gd name="T95" fmla="*/ 373 h 430"/>
                  <a:gd name="T96" fmla="*/ 642 w 742"/>
                  <a:gd name="T97" fmla="*/ 333 h 430"/>
                  <a:gd name="T98" fmla="*/ 701 w 742"/>
                  <a:gd name="T99" fmla="*/ 373 h 430"/>
                  <a:gd name="T100" fmla="*/ 691 w 742"/>
                  <a:gd name="T101" fmla="*/ 388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42" h="430">
                    <a:moveTo>
                      <a:pt x="684" y="0"/>
                    </a:moveTo>
                    <a:lnTo>
                      <a:pt x="59" y="0"/>
                    </a:lnTo>
                    <a:lnTo>
                      <a:pt x="59" y="0"/>
                    </a:lnTo>
                    <a:lnTo>
                      <a:pt x="47" y="2"/>
                    </a:lnTo>
                    <a:lnTo>
                      <a:pt x="37" y="5"/>
                    </a:lnTo>
                    <a:lnTo>
                      <a:pt x="27" y="10"/>
                    </a:lnTo>
                    <a:lnTo>
                      <a:pt x="19" y="17"/>
                    </a:lnTo>
                    <a:lnTo>
                      <a:pt x="10" y="27"/>
                    </a:lnTo>
                    <a:lnTo>
                      <a:pt x="5" y="35"/>
                    </a:lnTo>
                    <a:lnTo>
                      <a:pt x="2" y="47"/>
                    </a:lnTo>
                    <a:lnTo>
                      <a:pt x="0" y="58"/>
                    </a:lnTo>
                    <a:lnTo>
                      <a:pt x="0" y="373"/>
                    </a:lnTo>
                    <a:lnTo>
                      <a:pt x="0" y="373"/>
                    </a:lnTo>
                    <a:lnTo>
                      <a:pt x="2" y="384"/>
                    </a:lnTo>
                    <a:lnTo>
                      <a:pt x="5" y="394"/>
                    </a:lnTo>
                    <a:lnTo>
                      <a:pt x="10" y="405"/>
                    </a:lnTo>
                    <a:lnTo>
                      <a:pt x="19" y="413"/>
                    </a:lnTo>
                    <a:lnTo>
                      <a:pt x="27" y="420"/>
                    </a:lnTo>
                    <a:lnTo>
                      <a:pt x="37" y="426"/>
                    </a:lnTo>
                    <a:lnTo>
                      <a:pt x="47" y="430"/>
                    </a:lnTo>
                    <a:lnTo>
                      <a:pt x="59" y="430"/>
                    </a:lnTo>
                    <a:lnTo>
                      <a:pt x="684" y="430"/>
                    </a:lnTo>
                    <a:lnTo>
                      <a:pt x="684" y="430"/>
                    </a:lnTo>
                    <a:lnTo>
                      <a:pt x="696" y="430"/>
                    </a:lnTo>
                    <a:lnTo>
                      <a:pt x="706" y="426"/>
                    </a:lnTo>
                    <a:lnTo>
                      <a:pt x="716" y="420"/>
                    </a:lnTo>
                    <a:lnTo>
                      <a:pt x="724" y="413"/>
                    </a:lnTo>
                    <a:lnTo>
                      <a:pt x="732" y="405"/>
                    </a:lnTo>
                    <a:lnTo>
                      <a:pt x="737" y="394"/>
                    </a:lnTo>
                    <a:lnTo>
                      <a:pt x="741" y="384"/>
                    </a:lnTo>
                    <a:lnTo>
                      <a:pt x="742" y="373"/>
                    </a:lnTo>
                    <a:lnTo>
                      <a:pt x="742" y="58"/>
                    </a:lnTo>
                    <a:lnTo>
                      <a:pt x="742" y="58"/>
                    </a:lnTo>
                    <a:lnTo>
                      <a:pt x="741" y="47"/>
                    </a:lnTo>
                    <a:lnTo>
                      <a:pt x="737" y="35"/>
                    </a:lnTo>
                    <a:lnTo>
                      <a:pt x="732" y="27"/>
                    </a:lnTo>
                    <a:lnTo>
                      <a:pt x="724" y="17"/>
                    </a:lnTo>
                    <a:lnTo>
                      <a:pt x="716" y="10"/>
                    </a:lnTo>
                    <a:lnTo>
                      <a:pt x="706" y="5"/>
                    </a:lnTo>
                    <a:lnTo>
                      <a:pt x="696" y="2"/>
                    </a:lnTo>
                    <a:lnTo>
                      <a:pt x="684" y="0"/>
                    </a:lnTo>
                    <a:lnTo>
                      <a:pt x="684" y="0"/>
                    </a:lnTo>
                    <a:close/>
                    <a:moveTo>
                      <a:pt x="59" y="42"/>
                    </a:moveTo>
                    <a:lnTo>
                      <a:pt x="684" y="42"/>
                    </a:lnTo>
                    <a:lnTo>
                      <a:pt x="684" y="42"/>
                    </a:lnTo>
                    <a:lnTo>
                      <a:pt x="691" y="42"/>
                    </a:lnTo>
                    <a:lnTo>
                      <a:pt x="696" y="47"/>
                    </a:lnTo>
                    <a:lnTo>
                      <a:pt x="699" y="52"/>
                    </a:lnTo>
                    <a:lnTo>
                      <a:pt x="701" y="58"/>
                    </a:lnTo>
                    <a:lnTo>
                      <a:pt x="701" y="99"/>
                    </a:lnTo>
                    <a:lnTo>
                      <a:pt x="42" y="99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4" y="52"/>
                    </a:lnTo>
                    <a:lnTo>
                      <a:pt x="47" y="47"/>
                    </a:lnTo>
                    <a:lnTo>
                      <a:pt x="52" y="42"/>
                    </a:lnTo>
                    <a:lnTo>
                      <a:pt x="59" y="42"/>
                    </a:lnTo>
                    <a:lnTo>
                      <a:pt x="59" y="42"/>
                    </a:lnTo>
                    <a:close/>
                    <a:moveTo>
                      <a:pt x="600" y="139"/>
                    </a:moveTo>
                    <a:lnTo>
                      <a:pt x="600" y="194"/>
                    </a:lnTo>
                    <a:lnTo>
                      <a:pt x="542" y="194"/>
                    </a:lnTo>
                    <a:lnTo>
                      <a:pt x="542" y="139"/>
                    </a:lnTo>
                    <a:lnTo>
                      <a:pt x="600" y="139"/>
                    </a:lnTo>
                    <a:close/>
                    <a:moveTo>
                      <a:pt x="500" y="194"/>
                    </a:moveTo>
                    <a:lnTo>
                      <a:pt x="442" y="194"/>
                    </a:lnTo>
                    <a:lnTo>
                      <a:pt x="442" y="139"/>
                    </a:lnTo>
                    <a:lnTo>
                      <a:pt x="500" y="139"/>
                    </a:lnTo>
                    <a:lnTo>
                      <a:pt x="500" y="194"/>
                    </a:lnTo>
                    <a:close/>
                    <a:moveTo>
                      <a:pt x="442" y="291"/>
                    </a:moveTo>
                    <a:lnTo>
                      <a:pt x="442" y="236"/>
                    </a:lnTo>
                    <a:lnTo>
                      <a:pt x="500" y="236"/>
                    </a:lnTo>
                    <a:lnTo>
                      <a:pt x="500" y="291"/>
                    </a:lnTo>
                    <a:lnTo>
                      <a:pt x="442" y="291"/>
                    </a:lnTo>
                    <a:close/>
                    <a:moveTo>
                      <a:pt x="243" y="291"/>
                    </a:moveTo>
                    <a:lnTo>
                      <a:pt x="243" y="236"/>
                    </a:lnTo>
                    <a:lnTo>
                      <a:pt x="301" y="236"/>
                    </a:lnTo>
                    <a:lnTo>
                      <a:pt x="301" y="291"/>
                    </a:lnTo>
                    <a:lnTo>
                      <a:pt x="243" y="291"/>
                    </a:lnTo>
                    <a:close/>
                    <a:moveTo>
                      <a:pt x="341" y="236"/>
                    </a:moveTo>
                    <a:lnTo>
                      <a:pt x="401" y="236"/>
                    </a:lnTo>
                    <a:lnTo>
                      <a:pt x="401" y="291"/>
                    </a:lnTo>
                    <a:lnTo>
                      <a:pt x="341" y="291"/>
                    </a:lnTo>
                    <a:lnTo>
                      <a:pt x="341" y="236"/>
                    </a:lnTo>
                    <a:close/>
                    <a:moveTo>
                      <a:pt x="401" y="194"/>
                    </a:moveTo>
                    <a:lnTo>
                      <a:pt x="341" y="194"/>
                    </a:lnTo>
                    <a:lnTo>
                      <a:pt x="341" y="139"/>
                    </a:lnTo>
                    <a:lnTo>
                      <a:pt x="401" y="139"/>
                    </a:lnTo>
                    <a:lnTo>
                      <a:pt x="401" y="194"/>
                    </a:lnTo>
                    <a:close/>
                    <a:moveTo>
                      <a:pt x="301" y="194"/>
                    </a:moveTo>
                    <a:lnTo>
                      <a:pt x="243" y="194"/>
                    </a:lnTo>
                    <a:lnTo>
                      <a:pt x="243" y="139"/>
                    </a:lnTo>
                    <a:lnTo>
                      <a:pt x="301" y="139"/>
                    </a:lnTo>
                    <a:lnTo>
                      <a:pt x="301" y="194"/>
                    </a:lnTo>
                    <a:close/>
                    <a:moveTo>
                      <a:pt x="201" y="194"/>
                    </a:moveTo>
                    <a:lnTo>
                      <a:pt x="142" y="194"/>
                    </a:lnTo>
                    <a:lnTo>
                      <a:pt x="142" y="139"/>
                    </a:lnTo>
                    <a:lnTo>
                      <a:pt x="201" y="139"/>
                    </a:lnTo>
                    <a:lnTo>
                      <a:pt x="201" y="194"/>
                    </a:lnTo>
                    <a:close/>
                    <a:moveTo>
                      <a:pt x="101" y="194"/>
                    </a:moveTo>
                    <a:lnTo>
                      <a:pt x="42" y="194"/>
                    </a:lnTo>
                    <a:lnTo>
                      <a:pt x="42" y="139"/>
                    </a:lnTo>
                    <a:lnTo>
                      <a:pt x="101" y="139"/>
                    </a:lnTo>
                    <a:lnTo>
                      <a:pt x="101" y="194"/>
                    </a:lnTo>
                    <a:close/>
                    <a:moveTo>
                      <a:pt x="101" y="236"/>
                    </a:moveTo>
                    <a:lnTo>
                      <a:pt x="101" y="291"/>
                    </a:lnTo>
                    <a:lnTo>
                      <a:pt x="42" y="291"/>
                    </a:lnTo>
                    <a:lnTo>
                      <a:pt x="42" y="236"/>
                    </a:lnTo>
                    <a:lnTo>
                      <a:pt x="101" y="236"/>
                    </a:lnTo>
                    <a:close/>
                    <a:moveTo>
                      <a:pt x="142" y="236"/>
                    </a:moveTo>
                    <a:lnTo>
                      <a:pt x="201" y="236"/>
                    </a:lnTo>
                    <a:lnTo>
                      <a:pt x="201" y="291"/>
                    </a:lnTo>
                    <a:lnTo>
                      <a:pt x="142" y="291"/>
                    </a:lnTo>
                    <a:lnTo>
                      <a:pt x="142" y="236"/>
                    </a:lnTo>
                    <a:close/>
                    <a:moveTo>
                      <a:pt x="600" y="333"/>
                    </a:moveTo>
                    <a:lnTo>
                      <a:pt x="600" y="389"/>
                    </a:lnTo>
                    <a:lnTo>
                      <a:pt x="142" y="389"/>
                    </a:lnTo>
                    <a:lnTo>
                      <a:pt x="142" y="333"/>
                    </a:lnTo>
                    <a:lnTo>
                      <a:pt x="600" y="333"/>
                    </a:lnTo>
                    <a:close/>
                    <a:moveTo>
                      <a:pt x="542" y="291"/>
                    </a:moveTo>
                    <a:lnTo>
                      <a:pt x="542" y="236"/>
                    </a:lnTo>
                    <a:lnTo>
                      <a:pt x="600" y="236"/>
                    </a:lnTo>
                    <a:lnTo>
                      <a:pt x="600" y="291"/>
                    </a:lnTo>
                    <a:lnTo>
                      <a:pt x="542" y="291"/>
                    </a:lnTo>
                    <a:close/>
                    <a:moveTo>
                      <a:pt x="642" y="236"/>
                    </a:moveTo>
                    <a:lnTo>
                      <a:pt x="701" y="236"/>
                    </a:lnTo>
                    <a:lnTo>
                      <a:pt x="701" y="291"/>
                    </a:lnTo>
                    <a:lnTo>
                      <a:pt x="642" y="291"/>
                    </a:lnTo>
                    <a:lnTo>
                      <a:pt x="642" y="236"/>
                    </a:lnTo>
                    <a:close/>
                    <a:moveTo>
                      <a:pt x="642" y="194"/>
                    </a:moveTo>
                    <a:lnTo>
                      <a:pt x="642" y="139"/>
                    </a:lnTo>
                    <a:lnTo>
                      <a:pt x="701" y="139"/>
                    </a:lnTo>
                    <a:lnTo>
                      <a:pt x="701" y="194"/>
                    </a:lnTo>
                    <a:lnTo>
                      <a:pt x="642" y="194"/>
                    </a:lnTo>
                    <a:close/>
                    <a:moveTo>
                      <a:pt x="42" y="373"/>
                    </a:moveTo>
                    <a:lnTo>
                      <a:pt x="42" y="333"/>
                    </a:lnTo>
                    <a:lnTo>
                      <a:pt x="101" y="333"/>
                    </a:lnTo>
                    <a:lnTo>
                      <a:pt x="101" y="389"/>
                    </a:lnTo>
                    <a:lnTo>
                      <a:pt x="59" y="389"/>
                    </a:lnTo>
                    <a:lnTo>
                      <a:pt x="59" y="389"/>
                    </a:lnTo>
                    <a:lnTo>
                      <a:pt x="52" y="388"/>
                    </a:lnTo>
                    <a:lnTo>
                      <a:pt x="47" y="384"/>
                    </a:lnTo>
                    <a:lnTo>
                      <a:pt x="44" y="379"/>
                    </a:lnTo>
                    <a:lnTo>
                      <a:pt x="42" y="373"/>
                    </a:lnTo>
                    <a:lnTo>
                      <a:pt x="42" y="373"/>
                    </a:lnTo>
                    <a:close/>
                    <a:moveTo>
                      <a:pt x="684" y="389"/>
                    </a:moveTo>
                    <a:lnTo>
                      <a:pt x="642" y="389"/>
                    </a:lnTo>
                    <a:lnTo>
                      <a:pt x="642" y="333"/>
                    </a:lnTo>
                    <a:lnTo>
                      <a:pt x="701" y="333"/>
                    </a:lnTo>
                    <a:lnTo>
                      <a:pt x="701" y="373"/>
                    </a:lnTo>
                    <a:lnTo>
                      <a:pt x="701" y="373"/>
                    </a:lnTo>
                    <a:lnTo>
                      <a:pt x="699" y="379"/>
                    </a:lnTo>
                    <a:lnTo>
                      <a:pt x="696" y="384"/>
                    </a:lnTo>
                    <a:lnTo>
                      <a:pt x="691" y="388"/>
                    </a:lnTo>
                    <a:lnTo>
                      <a:pt x="684" y="389"/>
                    </a:lnTo>
                    <a:lnTo>
                      <a:pt x="684" y="3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9" name="Freeform 157">
                <a:extLst>
                  <a:ext uri="{FF2B5EF4-FFF2-40B4-BE49-F238E27FC236}">
                    <a16:creationId xmlns:a16="http://schemas.microsoft.com/office/drawing/2014/main" id="{A0304439-C4FF-3E41-8598-ECEDA60ADE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2191" y="3765475"/>
                <a:ext cx="58190" cy="132544"/>
              </a:xfrm>
              <a:custGeom>
                <a:avLst/>
                <a:gdLst>
                  <a:gd name="T0" fmla="*/ 0 w 107"/>
                  <a:gd name="T1" fmla="*/ 246 h 246"/>
                  <a:gd name="T2" fmla="*/ 0 w 107"/>
                  <a:gd name="T3" fmla="*/ 246 h 246"/>
                  <a:gd name="T4" fmla="*/ 0 w 107"/>
                  <a:gd name="T5" fmla="*/ 214 h 246"/>
                  <a:gd name="T6" fmla="*/ 1 w 107"/>
                  <a:gd name="T7" fmla="*/ 201 h 246"/>
                  <a:gd name="T8" fmla="*/ 5 w 107"/>
                  <a:gd name="T9" fmla="*/ 187 h 246"/>
                  <a:gd name="T10" fmla="*/ 13 w 107"/>
                  <a:gd name="T11" fmla="*/ 171 h 246"/>
                  <a:gd name="T12" fmla="*/ 25 w 107"/>
                  <a:gd name="T13" fmla="*/ 155 h 246"/>
                  <a:gd name="T14" fmla="*/ 33 w 107"/>
                  <a:gd name="T15" fmla="*/ 149 h 246"/>
                  <a:gd name="T16" fmla="*/ 35 w 107"/>
                  <a:gd name="T17" fmla="*/ 149 h 246"/>
                  <a:gd name="T18" fmla="*/ 43 w 107"/>
                  <a:gd name="T19" fmla="*/ 142 h 246"/>
                  <a:gd name="T20" fmla="*/ 45 w 107"/>
                  <a:gd name="T21" fmla="*/ 142 h 246"/>
                  <a:gd name="T22" fmla="*/ 56 w 107"/>
                  <a:gd name="T23" fmla="*/ 132 h 246"/>
                  <a:gd name="T24" fmla="*/ 65 w 107"/>
                  <a:gd name="T25" fmla="*/ 117 h 246"/>
                  <a:gd name="T26" fmla="*/ 66 w 107"/>
                  <a:gd name="T27" fmla="*/ 102 h 246"/>
                  <a:gd name="T28" fmla="*/ 61 w 107"/>
                  <a:gd name="T29" fmla="*/ 87 h 246"/>
                  <a:gd name="T30" fmla="*/ 60 w 107"/>
                  <a:gd name="T31" fmla="*/ 84 h 246"/>
                  <a:gd name="T32" fmla="*/ 56 w 107"/>
                  <a:gd name="T33" fmla="*/ 79 h 246"/>
                  <a:gd name="T34" fmla="*/ 46 w 107"/>
                  <a:gd name="T35" fmla="*/ 65 h 246"/>
                  <a:gd name="T36" fmla="*/ 31 w 107"/>
                  <a:gd name="T37" fmla="*/ 50 h 246"/>
                  <a:gd name="T38" fmla="*/ 15 w 107"/>
                  <a:gd name="T39" fmla="*/ 38 h 246"/>
                  <a:gd name="T40" fmla="*/ 6 w 107"/>
                  <a:gd name="T41" fmla="*/ 25 h 246"/>
                  <a:gd name="T42" fmla="*/ 8 w 107"/>
                  <a:gd name="T43" fmla="*/ 10 h 246"/>
                  <a:gd name="T44" fmla="*/ 11 w 107"/>
                  <a:gd name="T45" fmla="*/ 7 h 246"/>
                  <a:gd name="T46" fmla="*/ 21 w 107"/>
                  <a:gd name="T47" fmla="*/ 2 h 246"/>
                  <a:gd name="T48" fmla="*/ 26 w 107"/>
                  <a:gd name="T49" fmla="*/ 0 h 246"/>
                  <a:gd name="T50" fmla="*/ 36 w 107"/>
                  <a:gd name="T51" fmla="*/ 3 h 246"/>
                  <a:gd name="T52" fmla="*/ 51 w 107"/>
                  <a:gd name="T53" fmla="*/ 13 h 246"/>
                  <a:gd name="T54" fmla="*/ 75 w 107"/>
                  <a:gd name="T55" fmla="*/ 37 h 246"/>
                  <a:gd name="T56" fmla="*/ 85 w 107"/>
                  <a:gd name="T57" fmla="*/ 48 h 246"/>
                  <a:gd name="T58" fmla="*/ 97 w 107"/>
                  <a:gd name="T59" fmla="*/ 65 h 246"/>
                  <a:gd name="T60" fmla="*/ 103 w 107"/>
                  <a:gd name="T61" fmla="*/ 80 h 246"/>
                  <a:gd name="T62" fmla="*/ 105 w 107"/>
                  <a:gd name="T63" fmla="*/ 115 h 246"/>
                  <a:gd name="T64" fmla="*/ 102 w 107"/>
                  <a:gd name="T65" fmla="*/ 132 h 246"/>
                  <a:gd name="T66" fmla="*/ 90 w 107"/>
                  <a:gd name="T67" fmla="*/ 152 h 246"/>
                  <a:gd name="T68" fmla="*/ 75 w 107"/>
                  <a:gd name="T69" fmla="*/ 169 h 246"/>
                  <a:gd name="T70" fmla="*/ 63 w 107"/>
                  <a:gd name="T71" fmla="*/ 177 h 246"/>
                  <a:gd name="T72" fmla="*/ 55 w 107"/>
                  <a:gd name="T73" fmla="*/ 184 h 246"/>
                  <a:gd name="T74" fmla="*/ 43 w 107"/>
                  <a:gd name="T75" fmla="*/ 201 h 246"/>
                  <a:gd name="T76" fmla="*/ 40 w 107"/>
                  <a:gd name="T77" fmla="*/ 211 h 246"/>
                  <a:gd name="T78" fmla="*/ 40 w 107"/>
                  <a:gd name="T79" fmla="*/ 214 h 246"/>
                  <a:gd name="T80" fmla="*/ 40 w 107"/>
                  <a:gd name="T81" fmla="*/ 244 h 246"/>
                  <a:gd name="T82" fmla="*/ 0 w 107"/>
                  <a:gd name="T83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7" h="246">
                    <a:moveTo>
                      <a:pt x="0" y="246"/>
                    </a:moveTo>
                    <a:lnTo>
                      <a:pt x="0" y="246"/>
                    </a:lnTo>
                    <a:lnTo>
                      <a:pt x="0" y="246"/>
                    </a:lnTo>
                    <a:lnTo>
                      <a:pt x="0" y="246"/>
                    </a:lnTo>
                    <a:lnTo>
                      <a:pt x="0" y="244"/>
                    </a:lnTo>
                    <a:lnTo>
                      <a:pt x="0" y="214"/>
                    </a:lnTo>
                    <a:lnTo>
                      <a:pt x="0" y="214"/>
                    </a:lnTo>
                    <a:lnTo>
                      <a:pt x="1" y="201"/>
                    </a:lnTo>
                    <a:lnTo>
                      <a:pt x="5" y="187"/>
                    </a:lnTo>
                    <a:lnTo>
                      <a:pt x="5" y="187"/>
                    </a:lnTo>
                    <a:lnTo>
                      <a:pt x="8" y="179"/>
                    </a:lnTo>
                    <a:lnTo>
                      <a:pt x="13" y="171"/>
                    </a:lnTo>
                    <a:lnTo>
                      <a:pt x="18" y="164"/>
                    </a:lnTo>
                    <a:lnTo>
                      <a:pt x="25" y="155"/>
                    </a:lnTo>
                    <a:lnTo>
                      <a:pt x="25" y="155"/>
                    </a:lnTo>
                    <a:lnTo>
                      <a:pt x="33" y="149"/>
                    </a:lnTo>
                    <a:lnTo>
                      <a:pt x="33" y="149"/>
                    </a:lnTo>
                    <a:lnTo>
                      <a:pt x="35" y="149"/>
                    </a:lnTo>
                    <a:lnTo>
                      <a:pt x="35" y="149"/>
                    </a:lnTo>
                    <a:lnTo>
                      <a:pt x="43" y="142"/>
                    </a:lnTo>
                    <a:lnTo>
                      <a:pt x="45" y="142"/>
                    </a:lnTo>
                    <a:lnTo>
                      <a:pt x="45" y="142"/>
                    </a:lnTo>
                    <a:lnTo>
                      <a:pt x="51" y="137"/>
                    </a:lnTo>
                    <a:lnTo>
                      <a:pt x="56" y="132"/>
                    </a:lnTo>
                    <a:lnTo>
                      <a:pt x="61" y="125"/>
                    </a:lnTo>
                    <a:lnTo>
                      <a:pt x="65" y="117"/>
                    </a:lnTo>
                    <a:lnTo>
                      <a:pt x="66" y="110"/>
                    </a:lnTo>
                    <a:lnTo>
                      <a:pt x="66" y="102"/>
                    </a:lnTo>
                    <a:lnTo>
                      <a:pt x="65" y="94"/>
                    </a:lnTo>
                    <a:lnTo>
                      <a:pt x="61" y="87"/>
                    </a:lnTo>
                    <a:lnTo>
                      <a:pt x="61" y="87"/>
                    </a:lnTo>
                    <a:lnTo>
                      <a:pt x="60" y="84"/>
                    </a:lnTo>
                    <a:lnTo>
                      <a:pt x="60" y="84"/>
                    </a:lnTo>
                    <a:lnTo>
                      <a:pt x="56" y="79"/>
                    </a:lnTo>
                    <a:lnTo>
                      <a:pt x="48" y="67"/>
                    </a:lnTo>
                    <a:lnTo>
                      <a:pt x="46" y="65"/>
                    </a:lnTo>
                    <a:lnTo>
                      <a:pt x="46" y="65"/>
                    </a:lnTo>
                    <a:lnTo>
                      <a:pt x="31" y="50"/>
                    </a:lnTo>
                    <a:lnTo>
                      <a:pt x="15" y="38"/>
                    </a:lnTo>
                    <a:lnTo>
                      <a:pt x="15" y="38"/>
                    </a:lnTo>
                    <a:lnTo>
                      <a:pt x="10" y="33"/>
                    </a:lnTo>
                    <a:lnTo>
                      <a:pt x="6" y="25"/>
                    </a:lnTo>
                    <a:lnTo>
                      <a:pt x="6" y="18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1" y="7"/>
                    </a:lnTo>
                    <a:lnTo>
                      <a:pt x="16" y="3"/>
                    </a:lnTo>
                    <a:lnTo>
                      <a:pt x="21" y="2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1" y="2"/>
                    </a:lnTo>
                    <a:lnTo>
                      <a:pt x="36" y="3"/>
                    </a:lnTo>
                    <a:lnTo>
                      <a:pt x="36" y="3"/>
                    </a:lnTo>
                    <a:lnTo>
                      <a:pt x="51" y="13"/>
                    </a:lnTo>
                    <a:lnTo>
                      <a:pt x="65" y="25"/>
                    </a:lnTo>
                    <a:lnTo>
                      <a:pt x="75" y="37"/>
                    </a:lnTo>
                    <a:lnTo>
                      <a:pt x="85" y="48"/>
                    </a:lnTo>
                    <a:lnTo>
                      <a:pt x="85" y="48"/>
                    </a:lnTo>
                    <a:lnTo>
                      <a:pt x="92" y="57"/>
                    </a:lnTo>
                    <a:lnTo>
                      <a:pt x="97" y="65"/>
                    </a:lnTo>
                    <a:lnTo>
                      <a:pt x="97" y="65"/>
                    </a:lnTo>
                    <a:lnTo>
                      <a:pt x="103" y="80"/>
                    </a:lnTo>
                    <a:lnTo>
                      <a:pt x="107" y="99"/>
                    </a:lnTo>
                    <a:lnTo>
                      <a:pt x="105" y="115"/>
                    </a:lnTo>
                    <a:lnTo>
                      <a:pt x="102" y="132"/>
                    </a:lnTo>
                    <a:lnTo>
                      <a:pt x="102" y="132"/>
                    </a:lnTo>
                    <a:lnTo>
                      <a:pt x="97" y="144"/>
                    </a:lnTo>
                    <a:lnTo>
                      <a:pt x="90" y="152"/>
                    </a:lnTo>
                    <a:lnTo>
                      <a:pt x="83" y="162"/>
                    </a:lnTo>
                    <a:lnTo>
                      <a:pt x="75" y="169"/>
                    </a:lnTo>
                    <a:lnTo>
                      <a:pt x="75" y="169"/>
                    </a:lnTo>
                    <a:lnTo>
                      <a:pt x="63" y="177"/>
                    </a:lnTo>
                    <a:lnTo>
                      <a:pt x="63" y="177"/>
                    </a:lnTo>
                    <a:lnTo>
                      <a:pt x="55" y="184"/>
                    </a:lnTo>
                    <a:lnTo>
                      <a:pt x="48" y="192"/>
                    </a:lnTo>
                    <a:lnTo>
                      <a:pt x="43" y="201"/>
                    </a:lnTo>
                    <a:lnTo>
                      <a:pt x="40" y="211"/>
                    </a:lnTo>
                    <a:lnTo>
                      <a:pt x="40" y="211"/>
                    </a:lnTo>
                    <a:lnTo>
                      <a:pt x="40" y="212"/>
                    </a:lnTo>
                    <a:lnTo>
                      <a:pt x="40" y="214"/>
                    </a:lnTo>
                    <a:lnTo>
                      <a:pt x="40" y="244"/>
                    </a:lnTo>
                    <a:lnTo>
                      <a:pt x="40" y="244"/>
                    </a:lnTo>
                    <a:lnTo>
                      <a:pt x="38" y="246"/>
                    </a:lnTo>
                    <a:lnTo>
                      <a:pt x="0" y="2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30BCD69-5C0C-9749-8D2B-4D69A54C23B5}"/>
              </a:ext>
            </a:extLst>
          </p:cNvPr>
          <p:cNvGrpSpPr/>
          <p:nvPr/>
        </p:nvGrpSpPr>
        <p:grpSpPr>
          <a:xfrm>
            <a:off x="7699780" y="1367879"/>
            <a:ext cx="3600400" cy="792088"/>
            <a:chOff x="8065293" y="3168079"/>
            <a:chExt cx="3600400" cy="792088"/>
          </a:xfrm>
        </p:grpSpPr>
        <p:sp>
          <p:nvSpPr>
            <p:cNvPr id="212" name="Rechteck 14">
              <a:extLst>
                <a:ext uri="{FF2B5EF4-FFF2-40B4-BE49-F238E27FC236}">
                  <a16:creationId xmlns:a16="http://schemas.microsoft.com/office/drawing/2014/main" id="{0DD05BBC-9DCA-2F40-BFCC-DC55FEC8FAFA}"/>
                </a:ext>
              </a:extLst>
            </p:cNvPr>
            <p:cNvSpPr/>
            <p:nvPr/>
          </p:nvSpPr>
          <p:spPr bwMode="gray">
            <a:xfrm>
              <a:off x="8065293" y="3168079"/>
              <a:ext cx="3600400" cy="792088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l">
                <a:buClr>
                  <a:srgbClr val="9B9B9B"/>
                </a:buClr>
              </a:pPr>
              <a:r>
                <a:rPr lang="en-US" sz="2800" b="1" dirty="0"/>
                <a:t>3</a:t>
              </a:r>
              <a:r>
                <a:rPr lang="en-US" sz="1400" dirty="0"/>
                <a:t> </a:t>
              </a:r>
              <a:r>
                <a:rPr lang="en-US" sz="1599" dirty="0">
                  <a:solidFill>
                    <a:schemeClr val="bg1"/>
                  </a:solidFill>
                </a:rPr>
                <a:t> </a:t>
              </a:r>
              <a:r>
                <a:rPr lang="en-US" sz="2000" dirty="0">
                  <a:solidFill>
                    <a:schemeClr val="bg1"/>
                  </a:solidFill>
                </a:rPr>
                <a:t>Availability zones</a:t>
              </a:r>
              <a:endParaRPr lang="de-DE" sz="2000" kern="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216" name="Group 215">
              <a:extLst>
                <a:ext uri="{FF2B5EF4-FFF2-40B4-BE49-F238E27FC236}">
                  <a16:creationId xmlns:a16="http://schemas.microsoft.com/office/drawing/2014/main" id="{139AC4EA-5D06-E940-BEAA-C9751C253249}"/>
                </a:ext>
              </a:extLst>
            </p:cNvPr>
            <p:cNvGrpSpPr/>
            <p:nvPr/>
          </p:nvGrpSpPr>
          <p:grpSpPr>
            <a:xfrm>
              <a:off x="10585573" y="3240087"/>
              <a:ext cx="720080" cy="648072"/>
              <a:chOff x="5517381" y="1772614"/>
              <a:chExt cx="309817" cy="347059"/>
            </a:xfrm>
            <a:solidFill>
              <a:schemeClr val="tx1"/>
            </a:solidFill>
          </p:grpSpPr>
          <p:sp>
            <p:nvSpPr>
              <p:cNvPr id="217" name="Rectangle 38">
                <a:extLst>
                  <a:ext uri="{FF2B5EF4-FFF2-40B4-BE49-F238E27FC236}">
                    <a16:creationId xmlns:a16="http://schemas.microsoft.com/office/drawing/2014/main" id="{69160AB5-4198-E746-ACDE-7B3F79CA1A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2576" y="1851851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8" name="Rectangle 39">
                <a:extLst>
                  <a:ext uri="{FF2B5EF4-FFF2-40B4-BE49-F238E27FC236}">
                    <a16:creationId xmlns:a16="http://schemas.microsoft.com/office/drawing/2014/main" id="{B3F8287A-251E-6F4F-B5B4-C5CBF7F75B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1402" y="1851851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9" name="Rectangle 40">
                <a:extLst>
                  <a:ext uri="{FF2B5EF4-FFF2-40B4-BE49-F238E27FC236}">
                    <a16:creationId xmlns:a16="http://schemas.microsoft.com/office/drawing/2014/main" id="{30DDDACC-8F13-DB42-B2F1-C7D99EBE85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2576" y="1893055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0" name="Rectangle 41">
                <a:extLst>
                  <a:ext uri="{FF2B5EF4-FFF2-40B4-BE49-F238E27FC236}">
                    <a16:creationId xmlns:a16="http://schemas.microsoft.com/office/drawing/2014/main" id="{024C68DF-51F1-7642-B097-DA5E189A5F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1402" y="1893055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1" name="Rectangle 42">
                <a:extLst>
                  <a:ext uri="{FF2B5EF4-FFF2-40B4-BE49-F238E27FC236}">
                    <a16:creationId xmlns:a16="http://schemas.microsoft.com/office/drawing/2014/main" id="{E2B5BED3-9E1C-1848-BA75-25E9D46EF3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7000" y="1974669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2" name="Rectangle 43">
                <a:extLst>
                  <a:ext uri="{FF2B5EF4-FFF2-40B4-BE49-F238E27FC236}">
                    <a16:creationId xmlns:a16="http://schemas.microsoft.com/office/drawing/2014/main" id="{9C966654-1165-3943-A536-2535CEC6CC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7000" y="2098279"/>
                <a:ext cx="20602" cy="19809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3" name="Rectangle 44">
                <a:extLst>
                  <a:ext uri="{FF2B5EF4-FFF2-40B4-BE49-F238E27FC236}">
                    <a16:creationId xmlns:a16="http://schemas.microsoft.com/office/drawing/2014/main" id="{EF028CF1-59E5-B54C-8931-4A4D897B00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7000" y="2057076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4" name="Rectangle 45">
                <a:extLst>
                  <a:ext uri="{FF2B5EF4-FFF2-40B4-BE49-F238E27FC236}">
                    <a16:creationId xmlns:a16="http://schemas.microsoft.com/office/drawing/2014/main" id="{C70AC3EA-6277-9E46-98DA-EC43A516F2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7000" y="2015872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5" name="Rectangle 46">
                <a:extLst>
                  <a:ext uri="{FF2B5EF4-FFF2-40B4-BE49-F238E27FC236}">
                    <a16:creationId xmlns:a16="http://schemas.microsoft.com/office/drawing/2014/main" id="{176E06B4-013E-3B41-B2E3-80A5090866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66978" y="2098279"/>
                <a:ext cx="20602" cy="19809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6" name="Rectangle 47">
                <a:extLst>
                  <a:ext uri="{FF2B5EF4-FFF2-40B4-BE49-F238E27FC236}">
                    <a16:creationId xmlns:a16="http://schemas.microsoft.com/office/drawing/2014/main" id="{BA85ED2A-AE01-3D42-B25E-6908E7AADC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66978" y="2057076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7" name="Rectangle 48">
                <a:extLst>
                  <a:ext uri="{FF2B5EF4-FFF2-40B4-BE49-F238E27FC236}">
                    <a16:creationId xmlns:a16="http://schemas.microsoft.com/office/drawing/2014/main" id="{C5639002-F2CA-5440-B64E-7B22EBA56B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66978" y="2015872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8" name="Rectangle 49">
                <a:extLst>
                  <a:ext uri="{FF2B5EF4-FFF2-40B4-BE49-F238E27FC236}">
                    <a16:creationId xmlns:a16="http://schemas.microsoft.com/office/drawing/2014/main" id="{775C4B3A-AD61-B940-9309-1E7AC0D1A2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2576" y="2099071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9" name="Rectangle 50">
                <a:extLst>
                  <a:ext uri="{FF2B5EF4-FFF2-40B4-BE49-F238E27FC236}">
                    <a16:creationId xmlns:a16="http://schemas.microsoft.com/office/drawing/2014/main" id="{C8F4706A-FCFE-0A4F-8F56-856B60945F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1402" y="2099071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0" name="Rectangle 51">
                <a:extLst>
                  <a:ext uri="{FF2B5EF4-FFF2-40B4-BE49-F238E27FC236}">
                    <a16:creationId xmlns:a16="http://schemas.microsoft.com/office/drawing/2014/main" id="{912C7DA4-AB65-3140-A55E-32A2DB86DD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2576" y="2057868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1" name="Rectangle 52">
                <a:extLst>
                  <a:ext uri="{FF2B5EF4-FFF2-40B4-BE49-F238E27FC236}">
                    <a16:creationId xmlns:a16="http://schemas.microsoft.com/office/drawing/2014/main" id="{1CA994E2-34A9-B94E-89AA-51BF9C7E23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1402" y="2057868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2" name="Rectangle 53">
                <a:extLst>
                  <a:ext uri="{FF2B5EF4-FFF2-40B4-BE49-F238E27FC236}">
                    <a16:creationId xmlns:a16="http://schemas.microsoft.com/office/drawing/2014/main" id="{D6FF3DDC-FEA1-974D-8000-D24F38740E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2576" y="2016665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3" name="Rectangle 54">
                <a:extLst>
                  <a:ext uri="{FF2B5EF4-FFF2-40B4-BE49-F238E27FC236}">
                    <a16:creationId xmlns:a16="http://schemas.microsoft.com/office/drawing/2014/main" id="{A60A9F2B-2CFA-654B-8551-5B01D110C6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1402" y="2016665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4" name="Rectangle 55">
                <a:extLst>
                  <a:ext uri="{FF2B5EF4-FFF2-40B4-BE49-F238E27FC236}">
                    <a16:creationId xmlns:a16="http://schemas.microsoft.com/office/drawing/2014/main" id="{90F7B2F4-343C-E841-A88B-5F39C9E585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2576" y="1975461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5" name="Rectangle 56">
                <a:extLst>
                  <a:ext uri="{FF2B5EF4-FFF2-40B4-BE49-F238E27FC236}">
                    <a16:creationId xmlns:a16="http://schemas.microsoft.com/office/drawing/2014/main" id="{E4474982-A07F-5C4B-B144-343FD160FE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1402" y="1975461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6" name="Rectangle 57">
                <a:extLst>
                  <a:ext uri="{FF2B5EF4-FFF2-40B4-BE49-F238E27FC236}">
                    <a16:creationId xmlns:a16="http://schemas.microsoft.com/office/drawing/2014/main" id="{E031FE57-ED53-2247-B907-FB0C087C86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2576" y="1934258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7" name="Rectangle 58">
                <a:extLst>
                  <a:ext uri="{FF2B5EF4-FFF2-40B4-BE49-F238E27FC236}">
                    <a16:creationId xmlns:a16="http://schemas.microsoft.com/office/drawing/2014/main" id="{49B5663E-EB62-9F49-8A81-9B61956717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1402" y="1934258"/>
                <a:ext cx="20602" cy="2060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8" name="Freeform 59">
                <a:extLst>
                  <a:ext uri="{FF2B5EF4-FFF2-40B4-BE49-F238E27FC236}">
                    <a16:creationId xmlns:a16="http://schemas.microsoft.com/office/drawing/2014/main" id="{AC0605B6-EF05-2C42-AA7E-E31933A683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7381" y="1935050"/>
                <a:ext cx="60220" cy="184623"/>
              </a:xfrm>
              <a:custGeom>
                <a:avLst/>
                <a:gdLst>
                  <a:gd name="T0" fmla="*/ 0 w 152"/>
                  <a:gd name="T1" fmla="*/ 65 h 466"/>
                  <a:gd name="T2" fmla="*/ 0 w 152"/>
                  <a:gd name="T3" fmla="*/ 466 h 466"/>
                  <a:gd name="T4" fmla="*/ 44 w 152"/>
                  <a:gd name="T5" fmla="*/ 466 h 466"/>
                  <a:gd name="T6" fmla="*/ 44 w 152"/>
                  <a:gd name="T7" fmla="*/ 65 h 466"/>
                  <a:gd name="T8" fmla="*/ 44 w 152"/>
                  <a:gd name="T9" fmla="*/ 65 h 466"/>
                  <a:gd name="T10" fmla="*/ 46 w 152"/>
                  <a:gd name="T11" fmla="*/ 58 h 466"/>
                  <a:gd name="T12" fmla="*/ 52 w 152"/>
                  <a:gd name="T13" fmla="*/ 52 h 466"/>
                  <a:gd name="T14" fmla="*/ 57 w 152"/>
                  <a:gd name="T15" fmla="*/ 48 h 466"/>
                  <a:gd name="T16" fmla="*/ 65 w 152"/>
                  <a:gd name="T17" fmla="*/ 47 h 466"/>
                  <a:gd name="T18" fmla="*/ 152 w 152"/>
                  <a:gd name="T19" fmla="*/ 47 h 466"/>
                  <a:gd name="T20" fmla="*/ 152 w 152"/>
                  <a:gd name="T21" fmla="*/ 0 h 466"/>
                  <a:gd name="T22" fmla="*/ 65 w 152"/>
                  <a:gd name="T23" fmla="*/ 0 h 466"/>
                  <a:gd name="T24" fmla="*/ 65 w 152"/>
                  <a:gd name="T25" fmla="*/ 0 h 466"/>
                  <a:gd name="T26" fmla="*/ 52 w 152"/>
                  <a:gd name="T27" fmla="*/ 2 h 466"/>
                  <a:gd name="T28" fmla="*/ 39 w 152"/>
                  <a:gd name="T29" fmla="*/ 6 h 466"/>
                  <a:gd name="T30" fmla="*/ 28 w 152"/>
                  <a:gd name="T31" fmla="*/ 11 h 466"/>
                  <a:gd name="T32" fmla="*/ 19 w 152"/>
                  <a:gd name="T33" fmla="*/ 21 h 466"/>
                  <a:gd name="T34" fmla="*/ 11 w 152"/>
                  <a:gd name="T35" fmla="*/ 30 h 466"/>
                  <a:gd name="T36" fmla="*/ 6 w 152"/>
                  <a:gd name="T37" fmla="*/ 41 h 466"/>
                  <a:gd name="T38" fmla="*/ 2 w 152"/>
                  <a:gd name="T39" fmla="*/ 52 h 466"/>
                  <a:gd name="T40" fmla="*/ 0 w 152"/>
                  <a:gd name="T41" fmla="*/ 65 h 466"/>
                  <a:gd name="T42" fmla="*/ 0 w 152"/>
                  <a:gd name="T43" fmla="*/ 65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52" h="466">
                    <a:moveTo>
                      <a:pt x="0" y="65"/>
                    </a:moveTo>
                    <a:lnTo>
                      <a:pt x="0" y="466"/>
                    </a:lnTo>
                    <a:lnTo>
                      <a:pt x="44" y="466"/>
                    </a:lnTo>
                    <a:lnTo>
                      <a:pt x="44" y="65"/>
                    </a:lnTo>
                    <a:lnTo>
                      <a:pt x="44" y="65"/>
                    </a:lnTo>
                    <a:lnTo>
                      <a:pt x="46" y="58"/>
                    </a:lnTo>
                    <a:lnTo>
                      <a:pt x="52" y="52"/>
                    </a:lnTo>
                    <a:lnTo>
                      <a:pt x="57" y="48"/>
                    </a:lnTo>
                    <a:lnTo>
                      <a:pt x="65" y="47"/>
                    </a:lnTo>
                    <a:lnTo>
                      <a:pt x="152" y="47"/>
                    </a:lnTo>
                    <a:lnTo>
                      <a:pt x="152" y="0"/>
                    </a:lnTo>
                    <a:lnTo>
                      <a:pt x="65" y="0"/>
                    </a:lnTo>
                    <a:lnTo>
                      <a:pt x="65" y="0"/>
                    </a:lnTo>
                    <a:lnTo>
                      <a:pt x="52" y="2"/>
                    </a:lnTo>
                    <a:lnTo>
                      <a:pt x="39" y="6"/>
                    </a:lnTo>
                    <a:lnTo>
                      <a:pt x="28" y="11"/>
                    </a:lnTo>
                    <a:lnTo>
                      <a:pt x="19" y="21"/>
                    </a:lnTo>
                    <a:lnTo>
                      <a:pt x="11" y="30"/>
                    </a:lnTo>
                    <a:lnTo>
                      <a:pt x="6" y="41"/>
                    </a:lnTo>
                    <a:lnTo>
                      <a:pt x="2" y="52"/>
                    </a:lnTo>
                    <a:lnTo>
                      <a:pt x="0" y="65"/>
                    </a:lnTo>
                    <a:lnTo>
                      <a:pt x="0" y="6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9" name="Freeform 60">
                <a:extLst>
                  <a:ext uri="{FF2B5EF4-FFF2-40B4-BE49-F238E27FC236}">
                    <a16:creationId xmlns:a16="http://schemas.microsoft.com/office/drawing/2014/main" id="{9435DAEA-09C7-F941-BE13-5C5568E44A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6978" y="1976254"/>
                <a:ext cx="60220" cy="143419"/>
              </a:xfrm>
              <a:custGeom>
                <a:avLst/>
                <a:gdLst>
                  <a:gd name="T0" fmla="*/ 87 w 152"/>
                  <a:gd name="T1" fmla="*/ 0 h 360"/>
                  <a:gd name="T2" fmla="*/ 0 w 152"/>
                  <a:gd name="T3" fmla="*/ 0 h 360"/>
                  <a:gd name="T4" fmla="*/ 0 w 152"/>
                  <a:gd name="T5" fmla="*/ 44 h 360"/>
                  <a:gd name="T6" fmla="*/ 87 w 152"/>
                  <a:gd name="T7" fmla="*/ 44 h 360"/>
                  <a:gd name="T8" fmla="*/ 87 w 152"/>
                  <a:gd name="T9" fmla="*/ 44 h 360"/>
                  <a:gd name="T10" fmla="*/ 95 w 152"/>
                  <a:gd name="T11" fmla="*/ 46 h 360"/>
                  <a:gd name="T12" fmla="*/ 100 w 152"/>
                  <a:gd name="T13" fmla="*/ 50 h 360"/>
                  <a:gd name="T14" fmla="*/ 104 w 152"/>
                  <a:gd name="T15" fmla="*/ 57 h 360"/>
                  <a:gd name="T16" fmla="*/ 106 w 152"/>
                  <a:gd name="T17" fmla="*/ 65 h 360"/>
                  <a:gd name="T18" fmla="*/ 106 w 152"/>
                  <a:gd name="T19" fmla="*/ 360 h 360"/>
                  <a:gd name="T20" fmla="*/ 152 w 152"/>
                  <a:gd name="T21" fmla="*/ 360 h 360"/>
                  <a:gd name="T22" fmla="*/ 152 w 152"/>
                  <a:gd name="T23" fmla="*/ 65 h 360"/>
                  <a:gd name="T24" fmla="*/ 152 w 152"/>
                  <a:gd name="T25" fmla="*/ 65 h 360"/>
                  <a:gd name="T26" fmla="*/ 151 w 152"/>
                  <a:gd name="T27" fmla="*/ 52 h 360"/>
                  <a:gd name="T28" fmla="*/ 147 w 152"/>
                  <a:gd name="T29" fmla="*/ 39 h 360"/>
                  <a:gd name="T30" fmla="*/ 141 w 152"/>
                  <a:gd name="T31" fmla="*/ 28 h 360"/>
                  <a:gd name="T32" fmla="*/ 134 w 152"/>
                  <a:gd name="T33" fmla="*/ 18 h 360"/>
                  <a:gd name="T34" fmla="*/ 123 w 152"/>
                  <a:gd name="T35" fmla="*/ 11 h 360"/>
                  <a:gd name="T36" fmla="*/ 112 w 152"/>
                  <a:gd name="T37" fmla="*/ 5 h 360"/>
                  <a:gd name="T38" fmla="*/ 100 w 152"/>
                  <a:gd name="T39" fmla="*/ 0 h 360"/>
                  <a:gd name="T40" fmla="*/ 87 w 152"/>
                  <a:gd name="T41" fmla="*/ 0 h 360"/>
                  <a:gd name="T42" fmla="*/ 87 w 152"/>
                  <a:gd name="T43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52" h="360">
                    <a:moveTo>
                      <a:pt x="87" y="0"/>
                    </a:moveTo>
                    <a:lnTo>
                      <a:pt x="0" y="0"/>
                    </a:lnTo>
                    <a:lnTo>
                      <a:pt x="0" y="44"/>
                    </a:lnTo>
                    <a:lnTo>
                      <a:pt x="87" y="44"/>
                    </a:lnTo>
                    <a:lnTo>
                      <a:pt x="87" y="44"/>
                    </a:lnTo>
                    <a:lnTo>
                      <a:pt x="95" y="46"/>
                    </a:lnTo>
                    <a:lnTo>
                      <a:pt x="100" y="50"/>
                    </a:lnTo>
                    <a:lnTo>
                      <a:pt x="104" y="57"/>
                    </a:lnTo>
                    <a:lnTo>
                      <a:pt x="106" y="65"/>
                    </a:lnTo>
                    <a:lnTo>
                      <a:pt x="106" y="360"/>
                    </a:lnTo>
                    <a:lnTo>
                      <a:pt x="152" y="360"/>
                    </a:lnTo>
                    <a:lnTo>
                      <a:pt x="152" y="65"/>
                    </a:lnTo>
                    <a:lnTo>
                      <a:pt x="152" y="65"/>
                    </a:lnTo>
                    <a:lnTo>
                      <a:pt x="151" y="52"/>
                    </a:lnTo>
                    <a:lnTo>
                      <a:pt x="147" y="39"/>
                    </a:lnTo>
                    <a:lnTo>
                      <a:pt x="141" y="28"/>
                    </a:lnTo>
                    <a:lnTo>
                      <a:pt x="134" y="18"/>
                    </a:lnTo>
                    <a:lnTo>
                      <a:pt x="123" y="11"/>
                    </a:lnTo>
                    <a:lnTo>
                      <a:pt x="112" y="5"/>
                    </a:lnTo>
                    <a:lnTo>
                      <a:pt x="100" y="0"/>
                    </a:lnTo>
                    <a:lnTo>
                      <a:pt x="87" y="0"/>
                    </a:lnTo>
                    <a:lnTo>
                      <a:pt x="8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0" name="Freeform 61">
                <a:extLst>
                  <a:ext uri="{FF2B5EF4-FFF2-40B4-BE49-F238E27FC236}">
                    <a16:creationId xmlns:a16="http://schemas.microsoft.com/office/drawing/2014/main" id="{5BA281A6-6236-0E4E-935E-564E453160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8203" y="1772614"/>
                <a:ext cx="148174" cy="347059"/>
              </a:xfrm>
              <a:custGeom>
                <a:avLst/>
                <a:gdLst>
                  <a:gd name="T0" fmla="*/ 308 w 373"/>
                  <a:gd name="T1" fmla="*/ 102 h 874"/>
                  <a:gd name="T2" fmla="*/ 208 w 373"/>
                  <a:gd name="T3" fmla="*/ 102 h 874"/>
                  <a:gd name="T4" fmla="*/ 208 w 373"/>
                  <a:gd name="T5" fmla="*/ 24 h 874"/>
                  <a:gd name="T6" fmla="*/ 208 w 373"/>
                  <a:gd name="T7" fmla="*/ 24 h 874"/>
                  <a:gd name="T8" fmla="*/ 206 w 373"/>
                  <a:gd name="T9" fmla="*/ 15 h 874"/>
                  <a:gd name="T10" fmla="*/ 202 w 373"/>
                  <a:gd name="T11" fmla="*/ 7 h 874"/>
                  <a:gd name="T12" fmla="*/ 195 w 373"/>
                  <a:gd name="T13" fmla="*/ 2 h 874"/>
                  <a:gd name="T14" fmla="*/ 186 w 373"/>
                  <a:gd name="T15" fmla="*/ 0 h 874"/>
                  <a:gd name="T16" fmla="*/ 186 w 373"/>
                  <a:gd name="T17" fmla="*/ 0 h 874"/>
                  <a:gd name="T18" fmla="*/ 176 w 373"/>
                  <a:gd name="T19" fmla="*/ 2 h 874"/>
                  <a:gd name="T20" fmla="*/ 169 w 373"/>
                  <a:gd name="T21" fmla="*/ 7 h 874"/>
                  <a:gd name="T22" fmla="*/ 165 w 373"/>
                  <a:gd name="T23" fmla="*/ 15 h 874"/>
                  <a:gd name="T24" fmla="*/ 163 w 373"/>
                  <a:gd name="T25" fmla="*/ 24 h 874"/>
                  <a:gd name="T26" fmla="*/ 163 w 373"/>
                  <a:gd name="T27" fmla="*/ 102 h 874"/>
                  <a:gd name="T28" fmla="*/ 65 w 373"/>
                  <a:gd name="T29" fmla="*/ 102 h 874"/>
                  <a:gd name="T30" fmla="*/ 65 w 373"/>
                  <a:gd name="T31" fmla="*/ 102 h 874"/>
                  <a:gd name="T32" fmla="*/ 52 w 373"/>
                  <a:gd name="T33" fmla="*/ 104 h 874"/>
                  <a:gd name="T34" fmla="*/ 39 w 373"/>
                  <a:gd name="T35" fmla="*/ 107 h 874"/>
                  <a:gd name="T36" fmla="*/ 28 w 373"/>
                  <a:gd name="T37" fmla="*/ 113 h 874"/>
                  <a:gd name="T38" fmla="*/ 19 w 373"/>
                  <a:gd name="T39" fmla="*/ 120 h 874"/>
                  <a:gd name="T40" fmla="*/ 11 w 373"/>
                  <a:gd name="T41" fmla="*/ 132 h 874"/>
                  <a:gd name="T42" fmla="*/ 6 w 373"/>
                  <a:gd name="T43" fmla="*/ 143 h 874"/>
                  <a:gd name="T44" fmla="*/ 2 w 373"/>
                  <a:gd name="T45" fmla="*/ 154 h 874"/>
                  <a:gd name="T46" fmla="*/ 0 w 373"/>
                  <a:gd name="T47" fmla="*/ 167 h 874"/>
                  <a:gd name="T48" fmla="*/ 0 w 373"/>
                  <a:gd name="T49" fmla="*/ 874 h 874"/>
                  <a:gd name="T50" fmla="*/ 0 w 373"/>
                  <a:gd name="T51" fmla="*/ 874 h 874"/>
                  <a:gd name="T52" fmla="*/ 45 w 373"/>
                  <a:gd name="T53" fmla="*/ 874 h 874"/>
                  <a:gd name="T54" fmla="*/ 47 w 373"/>
                  <a:gd name="T55" fmla="*/ 874 h 874"/>
                  <a:gd name="T56" fmla="*/ 45 w 373"/>
                  <a:gd name="T57" fmla="*/ 167 h 874"/>
                  <a:gd name="T58" fmla="*/ 45 w 373"/>
                  <a:gd name="T59" fmla="*/ 167 h 874"/>
                  <a:gd name="T60" fmla="*/ 47 w 373"/>
                  <a:gd name="T61" fmla="*/ 159 h 874"/>
                  <a:gd name="T62" fmla="*/ 52 w 373"/>
                  <a:gd name="T63" fmla="*/ 154 h 874"/>
                  <a:gd name="T64" fmla="*/ 58 w 373"/>
                  <a:gd name="T65" fmla="*/ 148 h 874"/>
                  <a:gd name="T66" fmla="*/ 65 w 373"/>
                  <a:gd name="T67" fmla="*/ 148 h 874"/>
                  <a:gd name="T68" fmla="*/ 308 w 373"/>
                  <a:gd name="T69" fmla="*/ 148 h 874"/>
                  <a:gd name="T70" fmla="*/ 308 w 373"/>
                  <a:gd name="T71" fmla="*/ 148 h 874"/>
                  <a:gd name="T72" fmla="*/ 316 w 373"/>
                  <a:gd name="T73" fmla="*/ 148 h 874"/>
                  <a:gd name="T74" fmla="*/ 321 w 373"/>
                  <a:gd name="T75" fmla="*/ 154 h 874"/>
                  <a:gd name="T76" fmla="*/ 325 w 373"/>
                  <a:gd name="T77" fmla="*/ 159 h 874"/>
                  <a:gd name="T78" fmla="*/ 327 w 373"/>
                  <a:gd name="T79" fmla="*/ 167 h 874"/>
                  <a:gd name="T80" fmla="*/ 327 w 373"/>
                  <a:gd name="T81" fmla="*/ 874 h 874"/>
                  <a:gd name="T82" fmla="*/ 327 w 373"/>
                  <a:gd name="T83" fmla="*/ 874 h 874"/>
                  <a:gd name="T84" fmla="*/ 373 w 373"/>
                  <a:gd name="T85" fmla="*/ 874 h 874"/>
                  <a:gd name="T86" fmla="*/ 373 w 373"/>
                  <a:gd name="T87" fmla="*/ 874 h 874"/>
                  <a:gd name="T88" fmla="*/ 373 w 373"/>
                  <a:gd name="T89" fmla="*/ 167 h 874"/>
                  <a:gd name="T90" fmla="*/ 373 w 373"/>
                  <a:gd name="T91" fmla="*/ 167 h 874"/>
                  <a:gd name="T92" fmla="*/ 371 w 373"/>
                  <a:gd name="T93" fmla="*/ 154 h 874"/>
                  <a:gd name="T94" fmla="*/ 368 w 373"/>
                  <a:gd name="T95" fmla="*/ 143 h 874"/>
                  <a:gd name="T96" fmla="*/ 362 w 373"/>
                  <a:gd name="T97" fmla="*/ 132 h 874"/>
                  <a:gd name="T98" fmla="*/ 353 w 373"/>
                  <a:gd name="T99" fmla="*/ 120 h 874"/>
                  <a:gd name="T100" fmla="*/ 344 w 373"/>
                  <a:gd name="T101" fmla="*/ 113 h 874"/>
                  <a:gd name="T102" fmla="*/ 332 w 373"/>
                  <a:gd name="T103" fmla="*/ 107 h 874"/>
                  <a:gd name="T104" fmla="*/ 321 w 373"/>
                  <a:gd name="T105" fmla="*/ 104 h 874"/>
                  <a:gd name="T106" fmla="*/ 308 w 373"/>
                  <a:gd name="T107" fmla="*/ 102 h 874"/>
                  <a:gd name="T108" fmla="*/ 308 w 373"/>
                  <a:gd name="T109" fmla="*/ 102 h 8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73" h="874">
                    <a:moveTo>
                      <a:pt x="308" y="102"/>
                    </a:moveTo>
                    <a:lnTo>
                      <a:pt x="208" y="102"/>
                    </a:lnTo>
                    <a:lnTo>
                      <a:pt x="208" y="24"/>
                    </a:lnTo>
                    <a:lnTo>
                      <a:pt x="208" y="24"/>
                    </a:lnTo>
                    <a:lnTo>
                      <a:pt x="206" y="15"/>
                    </a:lnTo>
                    <a:lnTo>
                      <a:pt x="202" y="7"/>
                    </a:lnTo>
                    <a:lnTo>
                      <a:pt x="195" y="2"/>
                    </a:lnTo>
                    <a:lnTo>
                      <a:pt x="186" y="0"/>
                    </a:lnTo>
                    <a:lnTo>
                      <a:pt x="186" y="0"/>
                    </a:lnTo>
                    <a:lnTo>
                      <a:pt x="176" y="2"/>
                    </a:lnTo>
                    <a:lnTo>
                      <a:pt x="169" y="7"/>
                    </a:lnTo>
                    <a:lnTo>
                      <a:pt x="165" y="15"/>
                    </a:lnTo>
                    <a:lnTo>
                      <a:pt x="163" y="24"/>
                    </a:lnTo>
                    <a:lnTo>
                      <a:pt x="163" y="102"/>
                    </a:lnTo>
                    <a:lnTo>
                      <a:pt x="65" y="102"/>
                    </a:lnTo>
                    <a:lnTo>
                      <a:pt x="65" y="102"/>
                    </a:lnTo>
                    <a:lnTo>
                      <a:pt x="52" y="104"/>
                    </a:lnTo>
                    <a:lnTo>
                      <a:pt x="39" y="107"/>
                    </a:lnTo>
                    <a:lnTo>
                      <a:pt x="28" y="113"/>
                    </a:lnTo>
                    <a:lnTo>
                      <a:pt x="19" y="120"/>
                    </a:lnTo>
                    <a:lnTo>
                      <a:pt x="11" y="132"/>
                    </a:lnTo>
                    <a:lnTo>
                      <a:pt x="6" y="143"/>
                    </a:lnTo>
                    <a:lnTo>
                      <a:pt x="2" y="154"/>
                    </a:lnTo>
                    <a:lnTo>
                      <a:pt x="0" y="167"/>
                    </a:lnTo>
                    <a:lnTo>
                      <a:pt x="0" y="874"/>
                    </a:lnTo>
                    <a:lnTo>
                      <a:pt x="0" y="874"/>
                    </a:lnTo>
                    <a:lnTo>
                      <a:pt x="45" y="874"/>
                    </a:lnTo>
                    <a:lnTo>
                      <a:pt x="47" y="874"/>
                    </a:lnTo>
                    <a:lnTo>
                      <a:pt x="45" y="167"/>
                    </a:lnTo>
                    <a:lnTo>
                      <a:pt x="45" y="167"/>
                    </a:lnTo>
                    <a:lnTo>
                      <a:pt x="47" y="159"/>
                    </a:lnTo>
                    <a:lnTo>
                      <a:pt x="52" y="154"/>
                    </a:lnTo>
                    <a:lnTo>
                      <a:pt x="58" y="148"/>
                    </a:lnTo>
                    <a:lnTo>
                      <a:pt x="65" y="148"/>
                    </a:lnTo>
                    <a:lnTo>
                      <a:pt x="308" y="148"/>
                    </a:lnTo>
                    <a:lnTo>
                      <a:pt x="308" y="148"/>
                    </a:lnTo>
                    <a:lnTo>
                      <a:pt x="316" y="148"/>
                    </a:lnTo>
                    <a:lnTo>
                      <a:pt x="321" y="154"/>
                    </a:lnTo>
                    <a:lnTo>
                      <a:pt x="325" y="159"/>
                    </a:lnTo>
                    <a:lnTo>
                      <a:pt x="327" y="167"/>
                    </a:lnTo>
                    <a:lnTo>
                      <a:pt x="327" y="874"/>
                    </a:lnTo>
                    <a:lnTo>
                      <a:pt x="327" y="874"/>
                    </a:lnTo>
                    <a:lnTo>
                      <a:pt x="373" y="874"/>
                    </a:lnTo>
                    <a:lnTo>
                      <a:pt x="373" y="874"/>
                    </a:lnTo>
                    <a:lnTo>
                      <a:pt x="373" y="167"/>
                    </a:lnTo>
                    <a:lnTo>
                      <a:pt x="373" y="167"/>
                    </a:lnTo>
                    <a:lnTo>
                      <a:pt x="371" y="154"/>
                    </a:lnTo>
                    <a:lnTo>
                      <a:pt x="368" y="143"/>
                    </a:lnTo>
                    <a:lnTo>
                      <a:pt x="362" y="132"/>
                    </a:lnTo>
                    <a:lnTo>
                      <a:pt x="353" y="120"/>
                    </a:lnTo>
                    <a:lnTo>
                      <a:pt x="344" y="113"/>
                    </a:lnTo>
                    <a:lnTo>
                      <a:pt x="332" y="107"/>
                    </a:lnTo>
                    <a:lnTo>
                      <a:pt x="321" y="104"/>
                    </a:lnTo>
                    <a:lnTo>
                      <a:pt x="308" y="102"/>
                    </a:lnTo>
                    <a:lnTo>
                      <a:pt x="308" y="1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6DF0640E-0F33-CF48-B8C0-BD9E8C11EF63}"/>
              </a:ext>
            </a:extLst>
          </p:cNvPr>
          <p:cNvGrpSpPr/>
          <p:nvPr/>
        </p:nvGrpSpPr>
        <p:grpSpPr>
          <a:xfrm>
            <a:off x="7705651" y="2231975"/>
            <a:ext cx="3600400" cy="792088"/>
            <a:chOff x="8065293" y="3168079"/>
            <a:chExt cx="3600400" cy="792088"/>
          </a:xfrm>
        </p:grpSpPr>
        <p:sp>
          <p:nvSpPr>
            <p:cNvPr id="241" name="Rechteck 14">
              <a:extLst>
                <a:ext uri="{FF2B5EF4-FFF2-40B4-BE49-F238E27FC236}">
                  <a16:creationId xmlns:a16="http://schemas.microsoft.com/office/drawing/2014/main" id="{AC3E501E-4786-D146-97B5-7549F935E4EE}"/>
                </a:ext>
              </a:extLst>
            </p:cNvPr>
            <p:cNvSpPr/>
            <p:nvPr/>
          </p:nvSpPr>
          <p:spPr bwMode="gray">
            <a:xfrm>
              <a:off x="8065293" y="3168079"/>
              <a:ext cx="3600400" cy="792088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l">
                <a:buClr>
                  <a:srgbClr val="9B9B9B"/>
                </a:buClr>
              </a:pPr>
              <a:r>
                <a:rPr lang="en-US" sz="2800" b="1" dirty="0"/>
                <a:t>~70%</a:t>
              </a:r>
              <a:r>
                <a:rPr lang="en-US" sz="2800" dirty="0"/>
                <a:t> </a:t>
              </a:r>
              <a:r>
                <a:rPr lang="en-US" sz="2800" dirty="0">
                  <a:solidFill>
                    <a:schemeClr val="bg1"/>
                  </a:solidFill>
                </a:rPr>
                <a:t> </a:t>
              </a:r>
              <a:r>
                <a:rPr lang="en-US" sz="2000" dirty="0">
                  <a:solidFill>
                    <a:schemeClr val="bg1"/>
                  </a:solidFill>
                </a:rPr>
                <a:t>re-usable code</a:t>
              </a:r>
              <a:endParaRPr lang="de-DE" sz="2000" kern="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3B40CEE6-AD9A-6741-A6B4-DAC9764ABD0C}"/>
                </a:ext>
              </a:extLst>
            </p:cNvPr>
            <p:cNvGrpSpPr/>
            <p:nvPr/>
          </p:nvGrpSpPr>
          <p:grpSpPr>
            <a:xfrm>
              <a:off x="10841183" y="3282093"/>
              <a:ext cx="680494" cy="606066"/>
              <a:chOff x="354676" y="2182954"/>
              <a:chExt cx="252404" cy="331074"/>
            </a:xfrm>
            <a:solidFill>
              <a:schemeClr val="tx1"/>
            </a:solidFill>
          </p:grpSpPr>
          <p:sp>
            <p:nvSpPr>
              <p:cNvPr id="126" name="Freeform 140">
                <a:extLst>
                  <a:ext uri="{FF2B5EF4-FFF2-40B4-BE49-F238E27FC236}">
                    <a16:creationId xmlns:a16="http://schemas.microsoft.com/office/drawing/2014/main" id="{63AB8589-2C10-E547-8038-6453496839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347" y="2304238"/>
                <a:ext cx="119646" cy="73754"/>
              </a:xfrm>
              <a:custGeom>
                <a:avLst/>
                <a:gdLst>
                  <a:gd name="T0" fmla="*/ 293 w 293"/>
                  <a:gd name="T1" fmla="*/ 179 h 179"/>
                  <a:gd name="T2" fmla="*/ 253 w 293"/>
                  <a:gd name="T3" fmla="*/ 177 h 179"/>
                  <a:gd name="T4" fmla="*/ 253 w 293"/>
                  <a:gd name="T5" fmla="*/ 167 h 179"/>
                  <a:gd name="T6" fmla="*/ 253 w 293"/>
                  <a:gd name="T7" fmla="*/ 167 h 179"/>
                  <a:gd name="T8" fmla="*/ 253 w 293"/>
                  <a:gd name="T9" fmla="*/ 156 h 179"/>
                  <a:gd name="T10" fmla="*/ 250 w 293"/>
                  <a:gd name="T11" fmla="*/ 143 h 179"/>
                  <a:gd name="T12" fmla="*/ 246 w 293"/>
                  <a:gd name="T13" fmla="*/ 131 h 179"/>
                  <a:gd name="T14" fmla="*/ 243 w 293"/>
                  <a:gd name="T15" fmla="*/ 118 h 179"/>
                  <a:gd name="T16" fmla="*/ 236 w 293"/>
                  <a:gd name="T17" fmla="*/ 106 h 179"/>
                  <a:gd name="T18" fmla="*/ 230 w 293"/>
                  <a:gd name="T19" fmla="*/ 96 h 179"/>
                  <a:gd name="T20" fmla="*/ 221 w 293"/>
                  <a:gd name="T21" fmla="*/ 86 h 179"/>
                  <a:gd name="T22" fmla="*/ 213 w 293"/>
                  <a:gd name="T23" fmla="*/ 76 h 179"/>
                  <a:gd name="T24" fmla="*/ 213 w 293"/>
                  <a:gd name="T25" fmla="*/ 76 h 179"/>
                  <a:gd name="T26" fmla="*/ 203 w 293"/>
                  <a:gd name="T27" fmla="*/ 68 h 179"/>
                  <a:gd name="T28" fmla="*/ 191 w 293"/>
                  <a:gd name="T29" fmla="*/ 59 h 179"/>
                  <a:gd name="T30" fmla="*/ 182 w 293"/>
                  <a:gd name="T31" fmla="*/ 53 h 179"/>
                  <a:gd name="T32" fmla="*/ 168 w 293"/>
                  <a:gd name="T33" fmla="*/ 48 h 179"/>
                  <a:gd name="T34" fmla="*/ 157 w 293"/>
                  <a:gd name="T35" fmla="*/ 44 h 179"/>
                  <a:gd name="T36" fmla="*/ 145 w 293"/>
                  <a:gd name="T37" fmla="*/ 41 h 179"/>
                  <a:gd name="T38" fmla="*/ 132 w 293"/>
                  <a:gd name="T39" fmla="*/ 39 h 179"/>
                  <a:gd name="T40" fmla="*/ 118 w 293"/>
                  <a:gd name="T41" fmla="*/ 39 h 179"/>
                  <a:gd name="T42" fmla="*/ 118 w 293"/>
                  <a:gd name="T43" fmla="*/ 39 h 179"/>
                  <a:gd name="T44" fmla="*/ 105 w 293"/>
                  <a:gd name="T45" fmla="*/ 39 h 179"/>
                  <a:gd name="T46" fmla="*/ 93 w 293"/>
                  <a:gd name="T47" fmla="*/ 43 h 179"/>
                  <a:gd name="T48" fmla="*/ 80 w 293"/>
                  <a:gd name="T49" fmla="*/ 44 h 179"/>
                  <a:gd name="T50" fmla="*/ 68 w 293"/>
                  <a:gd name="T51" fmla="*/ 49 h 179"/>
                  <a:gd name="T52" fmla="*/ 58 w 293"/>
                  <a:gd name="T53" fmla="*/ 54 h 179"/>
                  <a:gd name="T54" fmla="*/ 47 w 293"/>
                  <a:gd name="T55" fmla="*/ 61 h 179"/>
                  <a:gd name="T56" fmla="*/ 37 w 293"/>
                  <a:gd name="T57" fmla="*/ 69 h 179"/>
                  <a:gd name="T58" fmla="*/ 27 w 293"/>
                  <a:gd name="T59" fmla="*/ 78 h 179"/>
                  <a:gd name="T60" fmla="*/ 0 w 293"/>
                  <a:gd name="T61" fmla="*/ 49 h 179"/>
                  <a:gd name="T62" fmla="*/ 0 w 293"/>
                  <a:gd name="T63" fmla="*/ 49 h 179"/>
                  <a:gd name="T64" fmla="*/ 12 w 293"/>
                  <a:gd name="T65" fmla="*/ 38 h 179"/>
                  <a:gd name="T66" fmla="*/ 25 w 293"/>
                  <a:gd name="T67" fmla="*/ 28 h 179"/>
                  <a:gd name="T68" fmla="*/ 38 w 293"/>
                  <a:gd name="T69" fmla="*/ 19 h 179"/>
                  <a:gd name="T70" fmla="*/ 53 w 293"/>
                  <a:gd name="T71" fmla="*/ 13 h 179"/>
                  <a:gd name="T72" fmla="*/ 68 w 293"/>
                  <a:gd name="T73" fmla="*/ 8 h 179"/>
                  <a:gd name="T74" fmla="*/ 85 w 293"/>
                  <a:gd name="T75" fmla="*/ 3 h 179"/>
                  <a:gd name="T76" fmla="*/ 100 w 293"/>
                  <a:gd name="T77" fmla="*/ 0 h 179"/>
                  <a:gd name="T78" fmla="*/ 117 w 293"/>
                  <a:gd name="T79" fmla="*/ 0 h 179"/>
                  <a:gd name="T80" fmla="*/ 117 w 293"/>
                  <a:gd name="T81" fmla="*/ 0 h 179"/>
                  <a:gd name="T82" fmla="*/ 120 w 293"/>
                  <a:gd name="T83" fmla="*/ 0 h 179"/>
                  <a:gd name="T84" fmla="*/ 120 w 293"/>
                  <a:gd name="T85" fmla="*/ 0 h 179"/>
                  <a:gd name="T86" fmla="*/ 138 w 293"/>
                  <a:gd name="T87" fmla="*/ 0 h 179"/>
                  <a:gd name="T88" fmla="*/ 155 w 293"/>
                  <a:gd name="T89" fmla="*/ 3 h 179"/>
                  <a:gd name="T90" fmla="*/ 172 w 293"/>
                  <a:gd name="T91" fmla="*/ 6 h 179"/>
                  <a:gd name="T92" fmla="*/ 187 w 293"/>
                  <a:gd name="T93" fmla="*/ 13 h 179"/>
                  <a:gd name="T94" fmla="*/ 201 w 293"/>
                  <a:gd name="T95" fmla="*/ 19 h 179"/>
                  <a:gd name="T96" fmla="*/ 216 w 293"/>
                  <a:gd name="T97" fmla="*/ 28 h 179"/>
                  <a:gd name="T98" fmla="*/ 230 w 293"/>
                  <a:gd name="T99" fmla="*/ 38 h 179"/>
                  <a:gd name="T100" fmla="*/ 241 w 293"/>
                  <a:gd name="T101" fmla="*/ 48 h 179"/>
                  <a:gd name="T102" fmla="*/ 253 w 293"/>
                  <a:gd name="T103" fmla="*/ 61 h 179"/>
                  <a:gd name="T104" fmla="*/ 263 w 293"/>
                  <a:gd name="T105" fmla="*/ 73 h 179"/>
                  <a:gd name="T106" fmla="*/ 271 w 293"/>
                  <a:gd name="T107" fmla="*/ 88 h 179"/>
                  <a:gd name="T108" fmla="*/ 278 w 293"/>
                  <a:gd name="T109" fmla="*/ 103 h 179"/>
                  <a:gd name="T110" fmla="*/ 285 w 293"/>
                  <a:gd name="T111" fmla="*/ 118 h 179"/>
                  <a:gd name="T112" fmla="*/ 290 w 293"/>
                  <a:gd name="T113" fmla="*/ 134 h 179"/>
                  <a:gd name="T114" fmla="*/ 291 w 293"/>
                  <a:gd name="T115" fmla="*/ 151 h 179"/>
                  <a:gd name="T116" fmla="*/ 293 w 293"/>
                  <a:gd name="T117" fmla="*/ 167 h 179"/>
                  <a:gd name="T118" fmla="*/ 293 w 293"/>
                  <a:gd name="T119" fmla="*/ 179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93" h="179">
                    <a:moveTo>
                      <a:pt x="293" y="179"/>
                    </a:moveTo>
                    <a:lnTo>
                      <a:pt x="253" y="177"/>
                    </a:lnTo>
                    <a:lnTo>
                      <a:pt x="253" y="167"/>
                    </a:lnTo>
                    <a:lnTo>
                      <a:pt x="253" y="167"/>
                    </a:lnTo>
                    <a:lnTo>
                      <a:pt x="253" y="156"/>
                    </a:lnTo>
                    <a:lnTo>
                      <a:pt x="250" y="143"/>
                    </a:lnTo>
                    <a:lnTo>
                      <a:pt x="246" y="131"/>
                    </a:lnTo>
                    <a:lnTo>
                      <a:pt x="243" y="118"/>
                    </a:lnTo>
                    <a:lnTo>
                      <a:pt x="236" y="106"/>
                    </a:lnTo>
                    <a:lnTo>
                      <a:pt x="230" y="96"/>
                    </a:lnTo>
                    <a:lnTo>
                      <a:pt x="221" y="86"/>
                    </a:lnTo>
                    <a:lnTo>
                      <a:pt x="213" y="76"/>
                    </a:lnTo>
                    <a:lnTo>
                      <a:pt x="213" y="76"/>
                    </a:lnTo>
                    <a:lnTo>
                      <a:pt x="203" y="68"/>
                    </a:lnTo>
                    <a:lnTo>
                      <a:pt x="191" y="59"/>
                    </a:lnTo>
                    <a:lnTo>
                      <a:pt x="182" y="53"/>
                    </a:lnTo>
                    <a:lnTo>
                      <a:pt x="168" y="48"/>
                    </a:lnTo>
                    <a:lnTo>
                      <a:pt x="157" y="44"/>
                    </a:lnTo>
                    <a:lnTo>
                      <a:pt x="145" y="41"/>
                    </a:lnTo>
                    <a:lnTo>
                      <a:pt x="132" y="39"/>
                    </a:lnTo>
                    <a:lnTo>
                      <a:pt x="118" y="39"/>
                    </a:lnTo>
                    <a:lnTo>
                      <a:pt x="118" y="39"/>
                    </a:lnTo>
                    <a:lnTo>
                      <a:pt x="105" y="39"/>
                    </a:lnTo>
                    <a:lnTo>
                      <a:pt x="93" y="43"/>
                    </a:lnTo>
                    <a:lnTo>
                      <a:pt x="80" y="44"/>
                    </a:lnTo>
                    <a:lnTo>
                      <a:pt x="68" y="49"/>
                    </a:lnTo>
                    <a:lnTo>
                      <a:pt x="58" y="54"/>
                    </a:lnTo>
                    <a:lnTo>
                      <a:pt x="47" y="61"/>
                    </a:lnTo>
                    <a:lnTo>
                      <a:pt x="37" y="69"/>
                    </a:lnTo>
                    <a:lnTo>
                      <a:pt x="27" y="78"/>
                    </a:lnTo>
                    <a:lnTo>
                      <a:pt x="0" y="49"/>
                    </a:lnTo>
                    <a:lnTo>
                      <a:pt x="0" y="49"/>
                    </a:lnTo>
                    <a:lnTo>
                      <a:pt x="12" y="38"/>
                    </a:lnTo>
                    <a:lnTo>
                      <a:pt x="25" y="28"/>
                    </a:lnTo>
                    <a:lnTo>
                      <a:pt x="38" y="19"/>
                    </a:lnTo>
                    <a:lnTo>
                      <a:pt x="53" y="13"/>
                    </a:lnTo>
                    <a:lnTo>
                      <a:pt x="68" y="8"/>
                    </a:lnTo>
                    <a:lnTo>
                      <a:pt x="85" y="3"/>
                    </a:lnTo>
                    <a:lnTo>
                      <a:pt x="100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120" y="0"/>
                    </a:lnTo>
                    <a:lnTo>
                      <a:pt x="120" y="0"/>
                    </a:lnTo>
                    <a:lnTo>
                      <a:pt x="138" y="0"/>
                    </a:lnTo>
                    <a:lnTo>
                      <a:pt x="155" y="3"/>
                    </a:lnTo>
                    <a:lnTo>
                      <a:pt x="172" y="6"/>
                    </a:lnTo>
                    <a:lnTo>
                      <a:pt x="187" y="13"/>
                    </a:lnTo>
                    <a:lnTo>
                      <a:pt x="201" y="19"/>
                    </a:lnTo>
                    <a:lnTo>
                      <a:pt x="216" y="28"/>
                    </a:lnTo>
                    <a:lnTo>
                      <a:pt x="230" y="38"/>
                    </a:lnTo>
                    <a:lnTo>
                      <a:pt x="241" y="48"/>
                    </a:lnTo>
                    <a:lnTo>
                      <a:pt x="253" y="61"/>
                    </a:lnTo>
                    <a:lnTo>
                      <a:pt x="263" y="73"/>
                    </a:lnTo>
                    <a:lnTo>
                      <a:pt x="271" y="88"/>
                    </a:lnTo>
                    <a:lnTo>
                      <a:pt x="278" y="103"/>
                    </a:lnTo>
                    <a:lnTo>
                      <a:pt x="285" y="118"/>
                    </a:lnTo>
                    <a:lnTo>
                      <a:pt x="290" y="134"/>
                    </a:lnTo>
                    <a:lnTo>
                      <a:pt x="291" y="151"/>
                    </a:lnTo>
                    <a:lnTo>
                      <a:pt x="293" y="167"/>
                    </a:lnTo>
                    <a:lnTo>
                      <a:pt x="293" y="1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7" name="Freeform 141">
                <a:extLst>
                  <a:ext uri="{FF2B5EF4-FFF2-40B4-BE49-F238E27FC236}">
                    <a16:creationId xmlns:a16="http://schemas.microsoft.com/office/drawing/2014/main" id="{1B3DC848-CAC7-3948-8BCA-5C221C0D8D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603" y="2346852"/>
                <a:ext cx="38516" cy="47530"/>
              </a:xfrm>
              <a:custGeom>
                <a:avLst/>
                <a:gdLst>
                  <a:gd name="T0" fmla="*/ 20 w 95"/>
                  <a:gd name="T1" fmla="*/ 116 h 116"/>
                  <a:gd name="T2" fmla="*/ 20 w 95"/>
                  <a:gd name="T3" fmla="*/ 116 h 116"/>
                  <a:gd name="T4" fmla="*/ 14 w 95"/>
                  <a:gd name="T5" fmla="*/ 114 h 116"/>
                  <a:gd name="T6" fmla="*/ 9 w 95"/>
                  <a:gd name="T7" fmla="*/ 113 h 116"/>
                  <a:gd name="T8" fmla="*/ 9 w 95"/>
                  <a:gd name="T9" fmla="*/ 113 h 116"/>
                  <a:gd name="T10" fmla="*/ 2 w 95"/>
                  <a:gd name="T11" fmla="*/ 106 h 116"/>
                  <a:gd name="T12" fmla="*/ 0 w 95"/>
                  <a:gd name="T13" fmla="*/ 99 h 116"/>
                  <a:gd name="T14" fmla="*/ 0 w 95"/>
                  <a:gd name="T15" fmla="*/ 91 h 116"/>
                  <a:gd name="T16" fmla="*/ 4 w 95"/>
                  <a:gd name="T17" fmla="*/ 84 h 116"/>
                  <a:gd name="T18" fmla="*/ 60 w 95"/>
                  <a:gd name="T19" fmla="*/ 6 h 116"/>
                  <a:gd name="T20" fmla="*/ 60 w 95"/>
                  <a:gd name="T21" fmla="*/ 6 h 116"/>
                  <a:gd name="T22" fmla="*/ 65 w 95"/>
                  <a:gd name="T23" fmla="*/ 1 h 116"/>
                  <a:gd name="T24" fmla="*/ 74 w 95"/>
                  <a:gd name="T25" fmla="*/ 0 h 116"/>
                  <a:gd name="T26" fmla="*/ 80 w 95"/>
                  <a:gd name="T27" fmla="*/ 0 h 116"/>
                  <a:gd name="T28" fmla="*/ 89 w 95"/>
                  <a:gd name="T29" fmla="*/ 3 h 116"/>
                  <a:gd name="T30" fmla="*/ 89 w 95"/>
                  <a:gd name="T31" fmla="*/ 3 h 116"/>
                  <a:gd name="T32" fmla="*/ 93 w 95"/>
                  <a:gd name="T33" fmla="*/ 8 h 116"/>
                  <a:gd name="T34" fmla="*/ 95 w 95"/>
                  <a:gd name="T35" fmla="*/ 16 h 116"/>
                  <a:gd name="T36" fmla="*/ 95 w 95"/>
                  <a:gd name="T37" fmla="*/ 23 h 116"/>
                  <a:gd name="T38" fmla="*/ 92 w 95"/>
                  <a:gd name="T39" fmla="*/ 31 h 116"/>
                  <a:gd name="T40" fmla="*/ 35 w 95"/>
                  <a:gd name="T41" fmla="*/ 108 h 116"/>
                  <a:gd name="T42" fmla="*/ 35 w 95"/>
                  <a:gd name="T43" fmla="*/ 108 h 116"/>
                  <a:gd name="T44" fmla="*/ 32 w 95"/>
                  <a:gd name="T45" fmla="*/ 111 h 116"/>
                  <a:gd name="T46" fmla="*/ 29 w 95"/>
                  <a:gd name="T47" fmla="*/ 114 h 116"/>
                  <a:gd name="T48" fmla="*/ 24 w 95"/>
                  <a:gd name="T49" fmla="*/ 116 h 116"/>
                  <a:gd name="T50" fmla="*/ 20 w 95"/>
                  <a:gd name="T51" fmla="*/ 116 h 116"/>
                  <a:gd name="T52" fmla="*/ 20 w 95"/>
                  <a:gd name="T53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95" h="116">
                    <a:moveTo>
                      <a:pt x="20" y="116"/>
                    </a:moveTo>
                    <a:lnTo>
                      <a:pt x="20" y="116"/>
                    </a:lnTo>
                    <a:lnTo>
                      <a:pt x="14" y="114"/>
                    </a:lnTo>
                    <a:lnTo>
                      <a:pt x="9" y="113"/>
                    </a:lnTo>
                    <a:lnTo>
                      <a:pt x="9" y="113"/>
                    </a:lnTo>
                    <a:lnTo>
                      <a:pt x="2" y="106"/>
                    </a:lnTo>
                    <a:lnTo>
                      <a:pt x="0" y="99"/>
                    </a:lnTo>
                    <a:lnTo>
                      <a:pt x="0" y="91"/>
                    </a:lnTo>
                    <a:lnTo>
                      <a:pt x="4" y="84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5" y="1"/>
                    </a:lnTo>
                    <a:lnTo>
                      <a:pt x="74" y="0"/>
                    </a:lnTo>
                    <a:lnTo>
                      <a:pt x="80" y="0"/>
                    </a:lnTo>
                    <a:lnTo>
                      <a:pt x="89" y="3"/>
                    </a:lnTo>
                    <a:lnTo>
                      <a:pt x="89" y="3"/>
                    </a:lnTo>
                    <a:lnTo>
                      <a:pt x="93" y="8"/>
                    </a:lnTo>
                    <a:lnTo>
                      <a:pt x="95" y="16"/>
                    </a:lnTo>
                    <a:lnTo>
                      <a:pt x="95" y="23"/>
                    </a:lnTo>
                    <a:lnTo>
                      <a:pt x="92" y="31"/>
                    </a:lnTo>
                    <a:lnTo>
                      <a:pt x="35" y="108"/>
                    </a:lnTo>
                    <a:lnTo>
                      <a:pt x="35" y="108"/>
                    </a:lnTo>
                    <a:lnTo>
                      <a:pt x="32" y="111"/>
                    </a:lnTo>
                    <a:lnTo>
                      <a:pt x="29" y="114"/>
                    </a:lnTo>
                    <a:lnTo>
                      <a:pt x="24" y="116"/>
                    </a:lnTo>
                    <a:lnTo>
                      <a:pt x="20" y="116"/>
                    </a:lnTo>
                    <a:lnTo>
                      <a:pt x="20" y="1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8" name="Freeform 142">
                <a:extLst>
                  <a:ext uri="{FF2B5EF4-FFF2-40B4-BE49-F238E27FC236}">
                    <a16:creationId xmlns:a16="http://schemas.microsoft.com/office/drawing/2014/main" id="{A784E15D-3C5E-8B47-BF6A-25DFBCAF17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63" y="2352588"/>
                <a:ext cx="47531" cy="41794"/>
              </a:xfrm>
              <a:custGeom>
                <a:avLst/>
                <a:gdLst>
                  <a:gd name="T0" fmla="*/ 94 w 114"/>
                  <a:gd name="T1" fmla="*/ 101 h 101"/>
                  <a:gd name="T2" fmla="*/ 94 w 114"/>
                  <a:gd name="T3" fmla="*/ 101 h 101"/>
                  <a:gd name="T4" fmla="*/ 88 w 114"/>
                  <a:gd name="T5" fmla="*/ 99 h 101"/>
                  <a:gd name="T6" fmla="*/ 81 w 114"/>
                  <a:gd name="T7" fmla="*/ 96 h 101"/>
                  <a:gd name="T8" fmla="*/ 8 w 114"/>
                  <a:gd name="T9" fmla="*/ 36 h 101"/>
                  <a:gd name="T10" fmla="*/ 8 w 114"/>
                  <a:gd name="T11" fmla="*/ 36 h 101"/>
                  <a:gd name="T12" fmla="*/ 3 w 114"/>
                  <a:gd name="T13" fmla="*/ 29 h 101"/>
                  <a:gd name="T14" fmla="*/ 0 w 114"/>
                  <a:gd name="T15" fmla="*/ 21 h 101"/>
                  <a:gd name="T16" fmla="*/ 1 w 114"/>
                  <a:gd name="T17" fmla="*/ 15 h 101"/>
                  <a:gd name="T18" fmla="*/ 5 w 114"/>
                  <a:gd name="T19" fmla="*/ 8 h 101"/>
                  <a:gd name="T20" fmla="*/ 5 w 114"/>
                  <a:gd name="T21" fmla="*/ 8 h 101"/>
                  <a:gd name="T22" fmla="*/ 11 w 114"/>
                  <a:gd name="T23" fmla="*/ 3 h 101"/>
                  <a:gd name="T24" fmla="*/ 18 w 114"/>
                  <a:gd name="T25" fmla="*/ 0 h 101"/>
                  <a:gd name="T26" fmla="*/ 26 w 114"/>
                  <a:gd name="T27" fmla="*/ 1 h 101"/>
                  <a:gd name="T28" fmla="*/ 33 w 114"/>
                  <a:gd name="T29" fmla="*/ 5 h 101"/>
                  <a:gd name="T30" fmla="*/ 106 w 114"/>
                  <a:gd name="T31" fmla="*/ 66 h 101"/>
                  <a:gd name="T32" fmla="*/ 106 w 114"/>
                  <a:gd name="T33" fmla="*/ 66 h 101"/>
                  <a:gd name="T34" fmla="*/ 111 w 114"/>
                  <a:gd name="T35" fmla="*/ 73 h 101"/>
                  <a:gd name="T36" fmla="*/ 114 w 114"/>
                  <a:gd name="T37" fmla="*/ 79 h 101"/>
                  <a:gd name="T38" fmla="*/ 113 w 114"/>
                  <a:gd name="T39" fmla="*/ 88 h 101"/>
                  <a:gd name="T40" fmla="*/ 109 w 114"/>
                  <a:gd name="T41" fmla="*/ 94 h 101"/>
                  <a:gd name="T42" fmla="*/ 109 w 114"/>
                  <a:gd name="T43" fmla="*/ 94 h 101"/>
                  <a:gd name="T44" fmla="*/ 106 w 114"/>
                  <a:gd name="T45" fmla="*/ 98 h 101"/>
                  <a:gd name="T46" fmla="*/ 103 w 114"/>
                  <a:gd name="T47" fmla="*/ 99 h 101"/>
                  <a:gd name="T48" fmla="*/ 94 w 114"/>
                  <a:gd name="T49" fmla="*/ 101 h 101"/>
                  <a:gd name="T50" fmla="*/ 94 w 114"/>
                  <a:gd name="T51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14" h="101">
                    <a:moveTo>
                      <a:pt x="94" y="101"/>
                    </a:moveTo>
                    <a:lnTo>
                      <a:pt x="94" y="101"/>
                    </a:lnTo>
                    <a:lnTo>
                      <a:pt x="88" y="99"/>
                    </a:lnTo>
                    <a:lnTo>
                      <a:pt x="81" y="9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3" y="29"/>
                    </a:lnTo>
                    <a:lnTo>
                      <a:pt x="0" y="21"/>
                    </a:lnTo>
                    <a:lnTo>
                      <a:pt x="1" y="15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11" y="3"/>
                    </a:lnTo>
                    <a:lnTo>
                      <a:pt x="18" y="0"/>
                    </a:lnTo>
                    <a:lnTo>
                      <a:pt x="26" y="1"/>
                    </a:lnTo>
                    <a:lnTo>
                      <a:pt x="33" y="5"/>
                    </a:lnTo>
                    <a:lnTo>
                      <a:pt x="106" y="66"/>
                    </a:lnTo>
                    <a:lnTo>
                      <a:pt x="106" y="66"/>
                    </a:lnTo>
                    <a:lnTo>
                      <a:pt x="111" y="73"/>
                    </a:lnTo>
                    <a:lnTo>
                      <a:pt x="114" y="79"/>
                    </a:lnTo>
                    <a:lnTo>
                      <a:pt x="113" y="88"/>
                    </a:lnTo>
                    <a:lnTo>
                      <a:pt x="109" y="94"/>
                    </a:lnTo>
                    <a:lnTo>
                      <a:pt x="109" y="94"/>
                    </a:lnTo>
                    <a:lnTo>
                      <a:pt x="106" y="98"/>
                    </a:lnTo>
                    <a:lnTo>
                      <a:pt x="103" y="99"/>
                    </a:lnTo>
                    <a:lnTo>
                      <a:pt x="94" y="101"/>
                    </a:lnTo>
                    <a:lnTo>
                      <a:pt x="94" y="1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9" name="Freeform 143">
                <a:extLst>
                  <a:ext uri="{FF2B5EF4-FFF2-40B4-BE49-F238E27FC236}">
                    <a16:creationId xmlns:a16="http://schemas.microsoft.com/office/drawing/2014/main" id="{687716BA-9C95-864B-AAE9-6E7963B06B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040" y="2359964"/>
                <a:ext cx="127021" cy="85227"/>
              </a:xfrm>
              <a:custGeom>
                <a:avLst/>
                <a:gdLst>
                  <a:gd name="T0" fmla="*/ 171 w 309"/>
                  <a:gd name="T1" fmla="*/ 208 h 208"/>
                  <a:gd name="T2" fmla="*/ 139 w 309"/>
                  <a:gd name="T3" fmla="*/ 204 h 208"/>
                  <a:gd name="T4" fmla="*/ 108 w 309"/>
                  <a:gd name="T5" fmla="*/ 196 h 208"/>
                  <a:gd name="T6" fmla="*/ 78 w 309"/>
                  <a:gd name="T7" fmla="*/ 181 h 208"/>
                  <a:gd name="T8" fmla="*/ 53 w 309"/>
                  <a:gd name="T9" fmla="*/ 159 h 208"/>
                  <a:gd name="T10" fmla="*/ 41 w 309"/>
                  <a:gd name="T11" fmla="*/ 148 h 208"/>
                  <a:gd name="T12" fmla="*/ 21 w 309"/>
                  <a:gd name="T13" fmla="*/ 120 h 208"/>
                  <a:gd name="T14" fmla="*/ 8 w 309"/>
                  <a:gd name="T15" fmla="*/ 90 h 208"/>
                  <a:gd name="T16" fmla="*/ 0 w 309"/>
                  <a:gd name="T17" fmla="*/ 56 h 208"/>
                  <a:gd name="T18" fmla="*/ 0 w 309"/>
                  <a:gd name="T19" fmla="*/ 40 h 208"/>
                  <a:gd name="T20" fmla="*/ 3 w 309"/>
                  <a:gd name="T21" fmla="*/ 0 h 208"/>
                  <a:gd name="T22" fmla="*/ 41 w 309"/>
                  <a:gd name="T23" fmla="*/ 8 h 208"/>
                  <a:gd name="T24" fmla="*/ 40 w 309"/>
                  <a:gd name="T25" fmla="*/ 38 h 208"/>
                  <a:gd name="T26" fmla="*/ 40 w 309"/>
                  <a:gd name="T27" fmla="*/ 51 h 208"/>
                  <a:gd name="T28" fmla="*/ 46 w 309"/>
                  <a:gd name="T29" fmla="*/ 76 h 208"/>
                  <a:gd name="T30" fmla="*/ 56 w 309"/>
                  <a:gd name="T31" fmla="*/ 101 h 208"/>
                  <a:gd name="T32" fmla="*/ 71 w 309"/>
                  <a:gd name="T33" fmla="*/ 121 h 208"/>
                  <a:gd name="T34" fmla="*/ 88 w 309"/>
                  <a:gd name="T35" fmla="*/ 140 h 208"/>
                  <a:gd name="T36" fmla="*/ 109 w 309"/>
                  <a:gd name="T37" fmla="*/ 153 h 208"/>
                  <a:gd name="T38" fmla="*/ 133 w 309"/>
                  <a:gd name="T39" fmla="*/ 163 h 208"/>
                  <a:gd name="T40" fmla="*/ 158 w 309"/>
                  <a:gd name="T41" fmla="*/ 168 h 208"/>
                  <a:gd name="T42" fmla="*/ 171 w 309"/>
                  <a:gd name="T43" fmla="*/ 168 h 208"/>
                  <a:gd name="T44" fmla="*/ 174 w 309"/>
                  <a:gd name="T45" fmla="*/ 168 h 208"/>
                  <a:gd name="T46" fmla="*/ 204 w 309"/>
                  <a:gd name="T47" fmla="*/ 164 h 208"/>
                  <a:gd name="T48" fmla="*/ 233 w 309"/>
                  <a:gd name="T49" fmla="*/ 154 h 208"/>
                  <a:gd name="T50" fmla="*/ 257 w 309"/>
                  <a:gd name="T51" fmla="*/ 138 h 208"/>
                  <a:gd name="T52" fmla="*/ 277 w 309"/>
                  <a:gd name="T53" fmla="*/ 115 h 208"/>
                  <a:gd name="T54" fmla="*/ 309 w 309"/>
                  <a:gd name="T55" fmla="*/ 140 h 208"/>
                  <a:gd name="T56" fmla="*/ 282 w 309"/>
                  <a:gd name="T57" fmla="*/ 168 h 208"/>
                  <a:gd name="T58" fmla="*/ 251 w 309"/>
                  <a:gd name="T59" fmla="*/ 189 h 208"/>
                  <a:gd name="T60" fmla="*/ 214 w 309"/>
                  <a:gd name="T61" fmla="*/ 203 h 208"/>
                  <a:gd name="T62" fmla="*/ 176 w 309"/>
                  <a:gd name="T63" fmla="*/ 208 h 208"/>
                  <a:gd name="T64" fmla="*/ 171 w 309"/>
                  <a:gd name="T65" fmla="*/ 208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9" h="208">
                    <a:moveTo>
                      <a:pt x="171" y="208"/>
                    </a:moveTo>
                    <a:lnTo>
                      <a:pt x="171" y="208"/>
                    </a:lnTo>
                    <a:lnTo>
                      <a:pt x="154" y="208"/>
                    </a:lnTo>
                    <a:lnTo>
                      <a:pt x="139" y="204"/>
                    </a:lnTo>
                    <a:lnTo>
                      <a:pt x="123" y="201"/>
                    </a:lnTo>
                    <a:lnTo>
                      <a:pt x="108" y="196"/>
                    </a:lnTo>
                    <a:lnTo>
                      <a:pt x="93" y="189"/>
                    </a:lnTo>
                    <a:lnTo>
                      <a:pt x="78" y="181"/>
                    </a:lnTo>
                    <a:lnTo>
                      <a:pt x="65" y="171"/>
                    </a:lnTo>
                    <a:lnTo>
                      <a:pt x="53" y="159"/>
                    </a:lnTo>
                    <a:lnTo>
                      <a:pt x="53" y="159"/>
                    </a:lnTo>
                    <a:lnTo>
                      <a:pt x="41" y="148"/>
                    </a:lnTo>
                    <a:lnTo>
                      <a:pt x="30" y="135"/>
                    </a:lnTo>
                    <a:lnTo>
                      <a:pt x="21" y="120"/>
                    </a:lnTo>
                    <a:lnTo>
                      <a:pt x="13" y="105"/>
                    </a:lnTo>
                    <a:lnTo>
                      <a:pt x="8" y="90"/>
                    </a:lnTo>
                    <a:lnTo>
                      <a:pt x="3" y="73"/>
                    </a:lnTo>
                    <a:lnTo>
                      <a:pt x="0" y="56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20"/>
                    </a:lnTo>
                    <a:lnTo>
                      <a:pt x="3" y="0"/>
                    </a:lnTo>
                    <a:lnTo>
                      <a:pt x="41" y="8"/>
                    </a:lnTo>
                    <a:lnTo>
                      <a:pt x="41" y="8"/>
                    </a:lnTo>
                    <a:lnTo>
                      <a:pt x="40" y="23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51"/>
                    </a:lnTo>
                    <a:lnTo>
                      <a:pt x="43" y="65"/>
                    </a:lnTo>
                    <a:lnTo>
                      <a:pt x="46" y="76"/>
                    </a:lnTo>
                    <a:lnTo>
                      <a:pt x="50" y="90"/>
                    </a:lnTo>
                    <a:lnTo>
                      <a:pt x="56" y="101"/>
                    </a:lnTo>
                    <a:lnTo>
                      <a:pt x="63" y="111"/>
                    </a:lnTo>
                    <a:lnTo>
                      <a:pt x="71" y="121"/>
                    </a:lnTo>
                    <a:lnTo>
                      <a:pt x="80" y="130"/>
                    </a:lnTo>
                    <a:lnTo>
                      <a:pt x="88" y="140"/>
                    </a:lnTo>
                    <a:lnTo>
                      <a:pt x="98" y="146"/>
                    </a:lnTo>
                    <a:lnTo>
                      <a:pt x="109" y="153"/>
                    </a:lnTo>
                    <a:lnTo>
                      <a:pt x="121" y="158"/>
                    </a:lnTo>
                    <a:lnTo>
                      <a:pt x="133" y="163"/>
                    </a:lnTo>
                    <a:lnTo>
                      <a:pt x="146" y="166"/>
                    </a:lnTo>
                    <a:lnTo>
                      <a:pt x="158" y="168"/>
                    </a:lnTo>
                    <a:lnTo>
                      <a:pt x="171" y="168"/>
                    </a:lnTo>
                    <a:lnTo>
                      <a:pt x="171" y="168"/>
                    </a:lnTo>
                    <a:lnTo>
                      <a:pt x="174" y="168"/>
                    </a:lnTo>
                    <a:lnTo>
                      <a:pt x="174" y="168"/>
                    </a:lnTo>
                    <a:lnTo>
                      <a:pt x="189" y="168"/>
                    </a:lnTo>
                    <a:lnTo>
                      <a:pt x="204" y="164"/>
                    </a:lnTo>
                    <a:lnTo>
                      <a:pt x="219" y="159"/>
                    </a:lnTo>
                    <a:lnTo>
                      <a:pt x="233" y="154"/>
                    </a:lnTo>
                    <a:lnTo>
                      <a:pt x="246" y="146"/>
                    </a:lnTo>
                    <a:lnTo>
                      <a:pt x="257" y="138"/>
                    </a:lnTo>
                    <a:lnTo>
                      <a:pt x="267" y="126"/>
                    </a:lnTo>
                    <a:lnTo>
                      <a:pt x="277" y="115"/>
                    </a:lnTo>
                    <a:lnTo>
                      <a:pt x="309" y="140"/>
                    </a:lnTo>
                    <a:lnTo>
                      <a:pt x="309" y="140"/>
                    </a:lnTo>
                    <a:lnTo>
                      <a:pt x="297" y="154"/>
                    </a:lnTo>
                    <a:lnTo>
                      <a:pt x="282" y="168"/>
                    </a:lnTo>
                    <a:lnTo>
                      <a:pt x="267" y="179"/>
                    </a:lnTo>
                    <a:lnTo>
                      <a:pt x="251" y="189"/>
                    </a:lnTo>
                    <a:lnTo>
                      <a:pt x="233" y="198"/>
                    </a:lnTo>
                    <a:lnTo>
                      <a:pt x="214" y="203"/>
                    </a:lnTo>
                    <a:lnTo>
                      <a:pt x="194" y="206"/>
                    </a:lnTo>
                    <a:lnTo>
                      <a:pt x="176" y="208"/>
                    </a:lnTo>
                    <a:lnTo>
                      <a:pt x="176" y="208"/>
                    </a:lnTo>
                    <a:lnTo>
                      <a:pt x="171" y="208"/>
                    </a:lnTo>
                    <a:lnTo>
                      <a:pt x="171" y="2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0" name="Freeform 144">
                <a:extLst>
                  <a:ext uri="{FF2B5EF4-FFF2-40B4-BE49-F238E27FC236}">
                    <a16:creationId xmlns:a16="http://schemas.microsoft.com/office/drawing/2014/main" id="{4AB834E4-799E-1E44-905C-FC3F07DE5D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318" y="2346852"/>
                <a:ext cx="40975" cy="45891"/>
              </a:xfrm>
              <a:custGeom>
                <a:avLst/>
                <a:gdLst>
                  <a:gd name="T0" fmla="*/ 82 w 102"/>
                  <a:gd name="T1" fmla="*/ 113 h 113"/>
                  <a:gd name="T2" fmla="*/ 82 w 102"/>
                  <a:gd name="T3" fmla="*/ 113 h 113"/>
                  <a:gd name="T4" fmla="*/ 74 w 102"/>
                  <a:gd name="T5" fmla="*/ 111 h 113"/>
                  <a:gd name="T6" fmla="*/ 70 w 102"/>
                  <a:gd name="T7" fmla="*/ 109 h 113"/>
                  <a:gd name="T8" fmla="*/ 67 w 102"/>
                  <a:gd name="T9" fmla="*/ 106 h 113"/>
                  <a:gd name="T10" fmla="*/ 5 w 102"/>
                  <a:gd name="T11" fmla="*/ 33 h 113"/>
                  <a:gd name="T12" fmla="*/ 5 w 102"/>
                  <a:gd name="T13" fmla="*/ 33 h 113"/>
                  <a:gd name="T14" fmla="*/ 2 w 102"/>
                  <a:gd name="T15" fmla="*/ 25 h 113"/>
                  <a:gd name="T16" fmla="*/ 0 w 102"/>
                  <a:gd name="T17" fmla="*/ 18 h 113"/>
                  <a:gd name="T18" fmla="*/ 4 w 102"/>
                  <a:gd name="T19" fmla="*/ 10 h 113"/>
                  <a:gd name="T20" fmla="*/ 9 w 102"/>
                  <a:gd name="T21" fmla="*/ 5 h 113"/>
                  <a:gd name="T22" fmla="*/ 9 w 102"/>
                  <a:gd name="T23" fmla="*/ 5 h 113"/>
                  <a:gd name="T24" fmla="*/ 15 w 102"/>
                  <a:gd name="T25" fmla="*/ 1 h 113"/>
                  <a:gd name="T26" fmla="*/ 24 w 102"/>
                  <a:gd name="T27" fmla="*/ 0 h 113"/>
                  <a:gd name="T28" fmla="*/ 30 w 102"/>
                  <a:gd name="T29" fmla="*/ 1 h 113"/>
                  <a:gd name="T30" fmla="*/ 37 w 102"/>
                  <a:gd name="T31" fmla="*/ 6 h 113"/>
                  <a:gd name="T32" fmla="*/ 97 w 102"/>
                  <a:gd name="T33" fmla="*/ 81 h 113"/>
                  <a:gd name="T34" fmla="*/ 97 w 102"/>
                  <a:gd name="T35" fmla="*/ 81 h 113"/>
                  <a:gd name="T36" fmla="*/ 100 w 102"/>
                  <a:gd name="T37" fmla="*/ 88 h 113"/>
                  <a:gd name="T38" fmla="*/ 102 w 102"/>
                  <a:gd name="T39" fmla="*/ 96 h 113"/>
                  <a:gd name="T40" fmla="*/ 100 w 102"/>
                  <a:gd name="T41" fmla="*/ 103 h 113"/>
                  <a:gd name="T42" fmla="*/ 95 w 102"/>
                  <a:gd name="T43" fmla="*/ 109 h 113"/>
                  <a:gd name="T44" fmla="*/ 95 w 102"/>
                  <a:gd name="T45" fmla="*/ 109 h 113"/>
                  <a:gd name="T46" fmla="*/ 88 w 102"/>
                  <a:gd name="T47" fmla="*/ 113 h 113"/>
                  <a:gd name="T48" fmla="*/ 82 w 102"/>
                  <a:gd name="T49" fmla="*/ 113 h 113"/>
                  <a:gd name="T50" fmla="*/ 82 w 102"/>
                  <a:gd name="T51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2" h="113">
                    <a:moveTo>
                      <a:pt x="82" y="113"/>
                    </a:moveTo>
                    <a:lnTo>
                      <a:pt x="82" y="113"/>
                    </a:lnTo>
                    <a:lnTo>
                      <a:pt x="74" y="111"/>
                    </a:lnTo>
                    <a:lnTo>
                      <a:pt x="70" y="109"/>
                    </a:lnTo>
                    <a:lnTo>
                      <a:pt x="67" y="106"/>
                    </a:lnTo>
                    <a:lnTo>
                      <a:pt x="5" y="33"/>
                    </a:lnTo>
                    <a:lnTo>
                      <a:pt x="5" y="33"/>
                    </a:lnTo>
                    <a:lnTo>
                      <a:pt x="2" y="25"/>
                    </a:lnTo>
                    <a:lnTo>
                      <a:pt x="0" y="18"/>
                    </a:lnTo>
                    <a:lnTo>
                      <a:pt x="4" y="10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5" y="1"/>
                    </a:lnTo>
                    <a:lnTo>
                      <a:pt x="24" y="0"/>
                    </a:lnTo>
                    <a:lnTo>
                      <a:pt x="30" y="1"/>
                    </a:lnTo>
                    <a:lnTo>
                      <a:pt x="37" y="6"/>
                    </a:lnTo>
                    <a:lnTo>
                      <a:pt x="97" y="81"/>
                    </a:lnTo>
                    <a:lnTo>
                      <a:pt x="97" y="81"/>
                    </a:lnTo>
                    <a:lnTo>
                      <a:pt x="100" y="88"/>
                    </a:lnTo>
                    <a:lnTo>
                      <a:pt x="102" y="96"/>
                    </a:lnTo>
                    <a:lnTo>
                      <a:pt x="100" y="103"/>
                    </a:lnTo>
                    <a:lnTo>
                      <a:pt x="95" y="109"/>
                    </a:lnTo>
                    <a:lnTo>
                      <a:pt x="95" y="109"/>
                    </a:lnTo>
                    <a:lnTo>
                      <a:pt x="88" y="113"/>
                    </a:lnTo>
                    <a:lnTo>
                      <a:pt x="82" y="113"/>
                    </a:lnTo>
                    <a:lnTo>
                      <a:pt x="82" y="1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1" name="Freeform 145">
                <a:extLst>
                  <a:ext uri="{FF2B5EF4-FFF2-40B4-BE49-F238E27FC236}">
                    <a16:creationId xmlns:a16="http://schemas.microsoft.com/office/drawing/2014/main" id="{4567A844-D88F-1B47-ABB8-27E7729F0B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636" y="2346852"/>
                <a:ext cx="45072" cy="42613"/>
              </a:xfrm>
              <a:custGeom>
                <a:avLst/>
                <a:gdLst>
                  <a:gd name="T0" fmla="*/ 20 w 110"/>
                  <a:gd name="T1" fmla="*/ 104 h 104"/>
                  <a:gd name="T2" fmla="*/ 20 w 110"/>
                  <a:gd name="T3" fmla="*/ 104 h 104"/>
                  <a:gd name="T4" fmla="*/ 14 w 110"/>
                  <a:gd name="T5" fmla="*/ 103 h 104"/>
                  <a:gd name="T6" fmla="*/ 7 w 110"/>
                  <a:gd name="T7" fmla="*/ 99 h 104"/>
                  <a:gd name="T8" fmla="*/ 7 w 110"/>
                  <a:gd name="T9" fmla="*/ 99 h 104"/>
                  <a:gd name="T10" fmla="*/ 2 w 110"/>
                  <a:gd name="T11" fmla="*/ 93 h 104"/>
                  <a:gd name="T12" fmla="*/ 0 w 110"/>
                  <a:gd name="T13" fmla="*/ 84 h 104"/>
                  <a:gd name="T14" fmla="*/ 2 w 110"/>
                  <a:gd name="T15" fmla="*/ 78 h 104"/>
                  <a:gd name="T16" fmla="*/ 7 w 110"/>
                  <a:gd name="T17" fmla="*/ 71 h 104"/>
                  <a:gd name="T18" fmla="*/ 77 w 110"/>
                  <a:gd name="T19" fmla="*/ 5 h 104"/>
                  <a:gd name="T20" fmla="*/ 77 w 110"/>
                  <a:gd name="T21" fmla="*/ 5 h 104"/>
                  <a:gd name="T22" fmla="*/ 84 w 110"/>
                  <a:gd name="T23" fmla="*/ 1 h 104"/>
                  <a:gd name="T24" fmla="*/ 92 w 110"/>
                  <a:gd name="T25" fmla="*/ 0 h 104"/>
                  <a:gd name="T26" fmla="*/ 99 w 110"/>
                  <a:gd name="T27" fmla="*/ 1 h 104"/>
                  <a:gd name="T28" fmla="*/ 105 w 110"/>
                  <a:gd name="T29" fmla="*/ 6 h 104"/>
                  <a:gd name="T30" fmla="*/ 105 w 110"/>
                  <a:gd name="T31" fmla="*/ 6 h 104"/>
                  <a:gd name="T32" fmla="*/ 110 w 110"/>
                  <a:gd name="T33" fmla="*/ 13 h 104"/>
                  <a:gd name="T34" fmla="*/ 110 w 110"/>
                  <a:gd name="T35" fmla="*/ 20 h 104"/>
                  <a:gd name="T36" fmla="*/ 109 w 110"/>
                  <a:gd name="T37" fmla="*/ 28 h 104"/>
                  <a:gd name="T38" fmla="*/ 105 w 110"/>
                  <a:gd name="T39" fmla="*/ 35 h 104"/>
                  <a:gd name="T40" fmla="*/ 35 w 110"/>
                  <a:gd name="T41" fmla="*/ 99 h 104"/>
                  <a:gd name="T42" fmla="*/ 35 w 110"/>
                  <a:gd name="T43" fmla="*/ 99 h 104"/>
                  <a:gd name="T44" fmla="*/ 29 w 110"/>
                  <a:gd name="T45" fmla="*/ 104 h 104"/>
                  <a:gd name="T46" fmla="*/ 20 w 110"/>
                  <a:gd name="T47" fmla="*/ 104 h 104"/>
                  <a:gd name="T48" fmla="*/ 20 w 110"/>
                  <a:gd name="T49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0" h="104">
                    <a:moveTo>
                      <a:pt x="20" y="104"/>
                    </a:moveTo>
                    <a:lnTo>
                      <a:pt x="20" y="104"/>
                    </a:lnTo>
                    <a:lnTo>
                      <a:pt x="14" y="103"/>
                    </a:lnTo>
                    <a:lnTo>
                      <a:pt x="7" y="99"/>
                    </a:lnTo>
                    <a:lnTo>
                      <a:pt x="7" y="99"/>
                    </a:lnTo>
                    <a:lnTo>
                      <a:pt x="2" y="93"/>
                    </a:lnTo>
                    <a:lnTo>
                      <a:pt x="0" y="84"/>
                    </a:lnTo>
                    <a:lnTo>
                      <a:pt x="2" y="78"/>
                    </a:lnTo>
                    <a:lnTo>
                      <a:pt x="7" y="71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84" y="1"/>
                    </a:lnTo>
                    <a:lnTo>
                      <a:pt x="92" y="0"/>
                    </a:lnTo>
                    <a:lnTo>
                      <a:pt x="99" y="1"/>
                    </a:lnTo>
                    <a:lnTo>
                      <a:pt x="105" y="6"/>
                    </a:lnTo>
                    <a:lnTo>
                      <a:pt x="105" y="6"/>
                    </a:lnTo>
                    <a:lnTo>
                      <a:pt x="110" y="13"/>
                    </a:lnTo>
                    <a:lnTo>
                      <a:pt x="110" y="20"/>
                    </a:lnTo>
                    <a:lnTo>
                      <a:pt x="109" y="28"/>
                    </a:lnTo>
                    <a:lnTo>
                      <a:pt x="105" y="35"/>
                    </a:lnTo>
                    <a:lnTo>
                      <a:pt x="35" y="99"/>
                    </a:lnTo>
                    <a:lnTo>
                      <a:pt x="35" y="99"/>
                    </a:lnTo>
                    <a:lnTo>
                      <a:pt x="29" y="104"/>
                    </a:lnTo>
                    <a:lnTo>
                      <a:pt x="20" y="104"/>
                    </a:lnTo>
                    <a:lnTo>
                      <a:pt x="20" y="10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2" name="Freeform 146">
                <a:extLst>
                  <a:ext uri="{FF2B5EF4-FFF2-40B4-BE49-F238E27FC236}">
                    <a16:creationId xmlns:a16="http://schemas.microsoft.com/office/drawing/2014/main" id="{071FEC2E-55AC-EE4E-8DDB-18D0A9675C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4676" y="2182954"/>
                <a:ext cx="252404" cy="331074"/>
              </a:xfrm>
              <a:custGeom>
                <a:avLst/>
                <a:gdLst>
                  <a:gd name="T0" fmla="*/ 73 w 615"/>
                  <a:gd name="T1" fmla="*/ 808 h 808"/>
                  <a:gd name="T2" fmla="*/ 58 w 615"/>
                  <a:gd name="T3" fmla="*/ 806 h 808"/>
                  <a:gd name="T4" fmla="*/ 32 w 615"/>
                  <a:gd name="T5" fmla="*/ 794 h 808"/>
                  <a:gd name="T6" fmla="*/ 12 w 615"/>
                  <a:gd name="T7" fmla="*/ 776 h 808"/>
                  <a:gd name="T8" fmla="*/ 2 w 615"/>
                  <a:gd name="T9" fmla="*/ 749 h 808"/>
                  <a:gd name="T10" fmla="*/ 0 w 615"/>
                  <a:gd name="T11" fmla="*/ 139 h 808"/>
                  <a:gd name="T12" fmla="*/ 542 w 615"/>
                  <a:gd name="T13" fmla="*/ 0 h 808"/>
                  <a:gd name="T14" fmla="*/ 557 w 615"/>
                  <a:gd name="T15" fmla="*/ 1 h 808"/>
                  <a:gd name="T16" fmla="*/ 584 w 615"/>
                  <a:gd name="T17" fmla="*/ 11 h 808"/>
                  <a:gd name="T18" fmla="*/ 604 w 615"/>
                  <a:gd name="T19" fmla="*/ 31 h 808"/>
                  <a:gd name="T20" fmla="*/ 614 w 615"/>
                  <a:gd name="T21" fmla="*/ 58 h 808"/>
                  <a:gd name="T22" fmla="*/ 615 w 615"/>
                  <a:gd name="T23" fmla="*/ 734 h 808"/>
                  <a:gd name="T24" fmla="*/ 614 w 615"/>
                  <a:gd name="T25" fmla="*/ 749 h 808"/>
                  <a:gd name="T26" fmla="*/ 604 w 615"/>
                  <a:gd name="T27" fmla="*/ 776 h 808"/>
                  <a:gd name="T28" fmla="*/ 584 w 615"/>
                  <a:gd name="T29" fmla="*/ 794 h 808"/>
                  <a:gd name="T30" fmla="*/ 557 w 615"/>
                  <a:gd name="T31" fmla="*/ 806 h 808"/>
                  <a:gd name="T32" fmla="*/ 542 w 615"/>
                  <a:gd name="T33" fmla="*/ 808 h 808"/>
                  <a:gd name="T34" fmla="*/ 40 w 615"/>
                  <a:gd name="T35" fmla="*/ 734 h 808"/>
                  <a:gd name="T36" fmla="*/ 40 w 615"/>
                  <a:gd name="T37" fmla="*/ 741 h 808"/>
                  <a:gd name="T38" fmla="*/ 45 w 615"/>
                  <a:gd name="T39" fmla="*/ 753 h 808"/>
                  <a:gd name="T40" fmla="*/ 53 w 615"/>
                  <a:gd name="T41" fmla="*/ 763 h 808"/>
                  <a:gd name="T42" fmla="*/ 67 w 615"/>
                  <a:gd name="T43" fmla="*/ 768 h 808"/>
                  <a:gd name="T44" fmla="*/ 542 w 615"/>
                  <a:gd name="T45" fmla="*/ 768 h 808"/>
                  <a:gd name="T46" fmla="*/ 549 w 615"/>
                  <a:gd name="T47" fmla="*/ 768 h 808"/>
                  <a:gd name="T48" fmla="*/ 560 w 615"/>
                  <a:gd name="T49" fmla="*/ 763 h 808"/>
                  <a:gd name="T50" fmla="*/ 570 w 615"/>
                  <a:gd name="T51" fmla="*/ 753 h 808"/>
                  <a:gd name="T52" fmla="*/ 575 w 615"/>
                  <a:gd name="T53" fmla="*/ 741 h 808"/>
                  <a:gd name="T54" fmla="*/ 575 w 615"/>
                  <a:gd name="T55" fmla="*/ 73 h 808"/>
                  <a:gd name="T56" fmla="*/ 575 w 615"/>
                  <a:gd name="T57" fmla="*/ 66 h 808"/>
                  <a:gd name="T58" fmla="*/ 570 w 615"/>
                  <a:gd name="T59" fmla="*/ 54 h 808"/>
                  <a:gd name="T60" fmla="*/ 560 w 615"/>
                  <a:gd name="T61" fmla="*/ 45 h 808"/>
                  <a:gd name="T62" fmla="*/ 549 w 615"/>
                  <a:gd name="T63" fmla="*/ 40 h 808"/>
                  <a:gd name="T64" fmla="*/ 175 w 615"/>
                  <a:gd name="T65" fmla="*/ 40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15" h="808">
                    <a:moveTo>
                      <a:pt x="542" y="808"/>
                    </a:moveTo>
                    <a:lnTo>
                      <a:pt x="73" y="808"/>
                    </a:lnTo>
                    <a:lnTo>
                      <a:pt x="73" y="808"/>
                    </a:lnTo>
                    <a:lnTo>
                      <a:pt x="58" y="806"/>
                    </a:lnTo>
                    <a:lnTo>
                      <a:pt x="45" y="801"/>
                    </a:lnTo>
                    <a:lnTo>
                      <a:pt x="32" y="794"/>
                    </a:lnTo>
                    <a:lnTo>
                      <a:pt x="22" y="786"/>
                    </a:lnTo>
                    <a:lnTo>
                      <a:pt x="12" y="776"/>
                    </a:lnTo>
                    <a:lnTo>
                      <a:pt x="5" y="763"/>
                    </a:lnTo>
                    <a:lnTo>
                      <a:pt x="2" y="749"/>
                    </a:lnTo>
                    <a:lnTo>
                      <a:pt x="0" y="734"/>
                    </a:lnTo>
                    <a:lnTo>
                      <a:pt x="0" y="139"/>
                    </a:lnTo>
                    <a:lnTo>
                      <a:pt x="160" y="0"/>
                    </a:lnTo>
                    <a:lnTo>
                      <a:pt x="542" y="0"/>
                    </a:lnTo>
                    <a:lnTo>
                      <a:pt x="542" y="0"/>
                    </a:lnTo>
                    <a:lnTo>
                      <a:pt x="557" y="1"/>
                    </a:lnTo>
                    <a:lnTo>
                      <a:pt x="570" y="5"/>
                    </a:lnTo>
                    <a:lnTo>
                      <a:pt x="584" y="11"/>
                    </a:lnTo>
                    <a:lnTo>
                      <a:pt x="594" y="21"/>
                    </a:lnTo>
                    <a:lnTo>
                      <a:pt x="604" y="31"/>
                    </a:lnTo>
                    <a:lnTo>
                      <a:pt x="610" y="45"/>
                    </a:lnTo>
                    <a:lnTo>
                      <a:pt x="614" y="58"/>
                    </a:lnTo>
                    <a:lnTo>
                      <a:pt x="615" y="73"/>
                    </a:lnTo>
                    <a:lnTo>
                      <a:pt x="615" y="734"/>
                    </a:lnTo>
                    <a:lnTo>
                      <a:pt x="615" y="734"/>
                    </a:lnTo>
                    <a:lnTo>
                      <a:pt x="614" y="749"/>
                    </a:lnTo>
                    <a:lnTo>
                      <a:pt x="610" y="763"/>
                    </a:lnTo>
                    <a:lnTo>
                      <a:pt x="604" y="776"/>
                    </a:lnTo>
                    <a:lnTo>
                      <a:pt x="594" y="786"/>
                    </a:lnTo>
                    <a:lnTo>
                      <a:pt x="584" y="794"/>
                    </a:lnTo>
                    <a:lnTo>
                      <a:pt x="570" y="801"/>
                    </a:lnTo>
                    <a:lnTo>
                      <a:pt x="557" y="806"/>
                    </a:lnTo>
                    <a:lnTo>
                      <a:pt x="542" y="808"/>
                    </a:lnTo>
                    <a:lnTo>
                      <a:pt x="542" y="808"/>
                    </a:lnTo>
                    <a:close/>
                    <a:moveTo>
                      <a:pt x="40" y="158"/>
                    </a:moveTo>
                    <a:lnTo>
                      <a:pt x="40" y="734"/>
                    </a:lnTo>
                    <a:lnTo>
                      <a:pt x="40" y="734"/>
                    </a:lnTo>
                    <a:lnTo>
                      <a:pt x="40" y="741"/>
                    </a:lnTo>
                    <a:lnTo>
                      <a:pt x="42" y="748"/>
                    </a:lnTo>
                    <a:lnTo>
                      <a:pt x="45" y="753"/>
                    </a:lnTo>
                    <a:lnTo>
                      <a:pt x="50" y="758"/>
                    </a:lnTo>
                    <a:lnTo>
                      <a:pt x="53" y="763"/>
                    </a:lnTo>
                    <a:lnTo>
                      <a:pt x="60" y="764"/>
                    </a:lnTo>
                    <a:lnTo>
                      <a:pt x="67" y="768"/>
                    </a:lnTo>
                    <a:lnTo>
                      <a:pt x="73" y="768"/>
                    </a:lnTo>
                    <a:lnTo>
                      <a:pt x="542" y="768"/>
                    </a:lnTo>
                    <a:lnTo>
                      <a:pt x="542" y="768"/>
                    </a:lnTo>
                    <a:lnTo>
                      <a:pt x="549" y="768"/>
                    </a:lnTo>
                    <a:lnTo>
                      <a:pt x="555" y="764"/>
                    </a:lnTo>
                    <a:lnTo>
                      <a:pt x="560" y="763"/>
                    </a:lnTo>
                    <a:lnTo>
                      <a:pt x="565" y="758"/>
                    </a:lnTo>
                    <a:lnTo>
                      <a:pt x="570" y="753"/>
                    </a:lnTo>
                    <a:lnTo>
                      <a:pt x="574" y="748"/>
                    </a:lnTo>
                    <a:lnTo>
                      <a:pt x="575" y="741"/>
                    </a:lnTo>
                    <a:lnTo>
                      <a:pt x="575" y="734"/>
                    </a:lnTo>
                    <a:lnTo>
                      <a:pt x="575" y="73"/>
                    </a:lnTo>
                    <a:lnTo>
                      <a:pt x="575" y="73"/>
                    </a:lnTo>
                    <a:lnTo>
                      <a:pt x="575" y="66"/>
                    </a:lnTo>
                    <a:lnTo>
                      <a:pt x="574" y="59"/>
                    </a:lnTo>
                    <a:lnTo>
                      <a:pt x="570" y="54"/>
                    </a:lnTo>
                    <a:lnTo>
                      <a:pt x="565" y="49"/>
                    </a:lnTo>
                    <a:lnTo>
                      <a:pt x="560" y="45"/>
                    </a:lnTo>
                    <a:lnTo>
                      <a:pt x="555" y="41"/>
                    </a:lnTo>
                    <a:lnTo>
                      <a:pt x="549" y="40"/>
                    </a:lnTo>
                    <a:lnTo>
                      <a:pt x="542" y="40"/>
                    </a:lnTo>
                    <a:lnTo>
                      <a:pt x="175" y="40"/>
                    </a:lnTo>
                    <a:lnTo>
                      <a:pt x="40" y="15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3" name="Freeform 147">
                <a:extLst>
                  <a:ext uri="{FF2B5EF4-FFF2-40B4-BE49-F238E27FC236}">
                    <a16:creationId xmlns:a16="http://schemas.microsoft.com/office/drawing/2014/main" id="{AA4CBC80-2977-4A4D-A0D7-D19D1DFE12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026" y="2195246"/>
                <a:ext cx="49170" cy="75393"/>
              </a:xfrm>
              <a:custGeom>
                <a:avLst/>
                <a:gdLst>
                  <a:gd name="T0" fmla="*/ 120 w 120"/>
                  <a:gd name="T1" fmla="*/ 182 h 182"/>
                  <a:gd name="T2" fmla="*/ 0 w 120"/>
                  <a:gd name="T3" fmla="*/ 182 h 182"/>
                  <a:gd name="T4" fmla="*/ 0 w 120"/>
                  <a:gd name="T5" fmla="*/ 143 h 182"/>
                  <a:gd name="T6" fmla="*/ 80 w 120"/>
                  <a:gd name="T7" fmla="*/ 143 h 182"/>
                  <a:gd name="T8" fmla="*/ 80 w 120"/>
                  <a:gd name="T9" fmla="*/ 0 h 182"/>
                  <a:gd name="T10" fmla="*/ 120 w 120"/>
                  <a:gd name="T11" fmla="*/ 0 h 182"/>
                  <a:gd name="T12" fmla="*/ 120 w 120"/>
                  <a:gd name="T13" fmla="*/ 182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0" h="182">
                    <a:moveTo>
                      <a:pt x="120" y="182"/>
                    </a:moveTo>
                    <a:lnTo>
                      <a:pt x="0" y="182"/>
                    </a:lnTo>
                    <a:lnTo>
                      <a:pt x="0" y="143"/>
                    </a:lnTo>
                    <a:lnTo>
                      <a:pt x="80" y="143"/>
                    </a:lnTo>
                    <a:lnTo>
                      <a:pt x="80" y="0"/>
                    </a:lnTo>
                    <a:lnTo>
                      <a:pt x="120" y="0"/>
                    </a:lnTo>
                    <a:lnTo>
                      <a:pt x="120" y="1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644FB95-DA15-C748-85BF-E209E1618A2D}"/>
              </a:ext>
            </a:extLst>
          </p:cNvPr>
          <p:cNvGrpSpPr/>
          <p:nvPr/>
        </p:nvGrpSpPr>
        <p:grpSpPr>
          <a:xfrm>
            <a:off x="144413" y="4032175"/>
            <a:ext cx="3600400" cy="792088"/>
            <a:chOff x="360437" y="3960167"/>
            <a:chExt cx="3600400" cy="792088"/>
          </a:xfrm>
        </p:grpSpPr>
        <p:sp>
          <p:nvSpPr>
            <p:cNvPr id="277" name="Rechteck 14">
              <a:extLst>
                <a:ext uri="{FF2B5EF4-FFF2-40B4-BE49-F238E27FC236}">
                  <a16:creationId xmlns:a16="http://schemas.microsoft.com/office/drawing/2014/main" id="{1BD6F7DF-3977-5845-BFA7-3FC6FFEA6293}"/>
                </a:ext>
              </a:extLst>
            </p:cNvPr>
            <p:cNvSpPr/>
            <p:nvPr/>
          </p:nvSpPr>
          <p:spPr bwMode="gray">
            <a:xfrm>
              <a:off x="360437" y="3960167"/>
              <a:ext cx="3600400" cy="792088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l">
                <a:buClr>
                  <a:srgbClr val="9B9B9B"/>
                </a:buClr>
              </a:pPr>
              <a:r>
                <a:rPr lang="en-US" sz="3200" b="1" dirty="0"/>
                <a:t>95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2000" dirty="0">
                  <a:solidFill>
                    <a:schemeClr val="bg1"/>
                  </a:solidFill>
                </a:rPr>
                <a:t>Security groups</a:t>
              </a:r>
              <a:endParaRPr lang="de-DE" sz="2000" kern="0" dirty="0">
                <a:solidFill>
                  <a:schemeClr val="bg1"/>
                </a:solidFill>
                <a:latin typeface="+mn-lt"/>
              </a:endParaRPr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0FC1EB89-D5E7-194E-A6FA-78FA71E34DDE}"/>
                </a:ext>
              </a:extLst>
            </p:cNvPr>
            <p:cNvGrpSpPr/>
            <p:nvPr/>
          </p:nvGrpSpPr>
          <p:grpSpPr>
            <a:xfrm>
              <a:off x="3096741" y="4104183"/>
              <a:ext cx="645249" cy="503179"/>
              <a:chOff x="1641358" y="3771941"/>
              <a:chExt cx="375002" cy="373925"/>
            </a:xfrm>
            <a:solidFill>
              <a:schemeClr val="tx1"/>
            </a:solidFill>
          </p:grpSpPr>
          <p:sp>
            <p:nvSpPr>
              <p:cNvPr id="108" name="Freeform 40">
                <a:extLst>
                  <a:ext uri="{FF2B5EF4-FFF2-40B4-BE49-F238E27FC236}">
                    <a16:creationId xmlns:a16="http://schemas.microsoft.com/office/drawing/2014/main" id="{6BBE9E36-4F43-2D48-B066-6462F449D6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41358" y="3771941"/>
                <a:ext cx="375002" cy="373925"/>
              </a:xfrm>
              <a:custGeom>
                <a:avLst/>
                <a:gdLst>
                  <a:gd name="T0" fmla="*/ 533 w 695"/>
                  <a:gd name="T1" fmla="*/ 0 h 696"/>
                  <a:gd name="T2" fmla="*/ 309 w 695"/>
                  <a:gd name="T3" fmla="*/ 214 h 696"/>
                  <a:gd name="T4" fmla="*/ 279 w 695"/>
                  <a:gd name="T5" fmla="*/ 207 h 696"/>
                  <a:gd name="T6" fmla="*/ 231 w 695"/>
                  <a:gd name="T7" fmla="*/ 206 h 696"/>
                  <a:gd name="T8" fmla="*/ 184 w 695"/>
                  <a:gd name="T9" fmla="*/ 214 h 696"/>
                  <a:gd name="T10" fmla="*/ 139 w 695"/>
                  <a:gd name="T11" fmla="*/ 229 h 696"/>
                  <a:gd name="T12" fmla="*/ 97 w 695"/>
                  <a:gd name="T13" fmla="*/ 256 h 696"/>
                  <a:gd name="T14" fmla="*/ 72 w 695"/>
                  <a:gd name="T15" fmla="*/ 278 h 696"/>
                  <a:gd name="T16" fmla="*/ 28 w 695"/>
                  <a:gd name="T17" fmla="*/ 336 h 696"/>
                  <a:gd name="T18" fmla="*/ 5 w 695"/>
                  <a:gd name="T19" fmla="*/ 403 h 696"/>
                  <a:gd name="T20" fmla="*/ 2 w 695"/>
                  <a:gd name="T21" fmla="*/ 473 h 696"/>
                  <a:gd name="T22" fmla="*/ 18 w 695"/>
                  <a:gd name="T23" fmla="*/ 542 h 696"/>
                  <a:gd name="T24" fmla="*/ 55 w 695"/>
                  <a:gd name="T25" fmla="*/ 605 h 696"/>
                  <a:gd name="T26" fmla="*/ 90 w 695"/>
                  <a:gd name="T27" fmla="*/ 640 h 696"/>
                  <a:gd name="T28" fmla="*/ 154 w 695"/>
                  <a:gd name="T29" fmla="*/ 677 h 696"/>
                  <a:gd name="T30" fmla="*/ 222 w 695"/>
                  <a:gd name="T31" fmla="*/ 694 h 696"/>
                  <a:gd name="T32" fmla="*/ 292 w 695"/>
                  <a:gd name="T33" fmla="*/ 691 h 696"/>
                  <a:gd name="T34" fmla="*/ 359 w 695"/>
                  <a:gd name="T35" fmla="*/ 667 h 696"/>
                  <a:gd name="T36" fmla="*/ 418 w 695"/>
                  <a:gd name="T37" fmla="*/ 624 h 696"/>
                  <a:gd name="T38" fmla="*/ 440 w 695"/>
                  <a:gd name="T39" fmla="*/ 599 h 696"/>
                  <a:gd name="T40" fmla="*/ 466 w 695"/>
                  <a:gd name="T41" fmla="*/ 557 h 696"/>
                  <a:gd name="T42" fmla="*/ 481 w 695"/>
                  <a:gd name="T43" fmla="*/ 512 h 696"/>
                  <a:gd name="T44" fmla="*/ 490 w 695"/>
                  <a:gd name="T45" fmla="*/ 465 h 696"/>
                  <a:gd name="T46" fmla="*/ 486 w 695"/>
                  <a:gd name="T47" fmla="*/ 416 h 696"/>
                  <a:gd name="T48" fmla="*/ 515 w 695"/>
                  <a:gd name="T49" fmla="*/ 351 h 696"/>
                  <a:gd name="T50" fmla="*/ 521 w 695"/>
                  <a:gd name="T51" fmla="*/ 338 h 696"/>
                  <a:gd name="T52" fmla="*/ 587 w 695"/>
                  <a:gd name="T53" fmla="*/ 273 h 696"/>
                  <a:gd name="T54" fmla="*/ 603 w 695"/>
                  <a:gd name="T55" fmla="*/ 261 h 696"/>
                  <a:gd name="T56" fmla="*/ 677 w 695"/>
                  <a:gd name="T57" fmla="*/ 184 h 696"/>
                  <a:gd name="T58" fmla="*/ 689 w 695"/>
                  <a:gd name="T59" fmla="*/ 177 h 696"/>
                  <a:gd name="T60" fmla="*/ 695 w 695"/>
                  <a:gd name="T61" fmla="*/ 166 h 696"/>
                  <a:gd name="T62" fmla="*/ 684 w 695"/>
                  <a:gd name="T63" fmla="*/ 32 h 696"/>
                  <a:gd name="T64" fmla="*/ 672 w 695"/>
                  <a:gd name="T65" fmla="*/ 13 h 696"/>
                  <a:gd name="T66" fmla="*/ 652 w 695"/>
                  <a:gd name="T67" fmla="*/ 145 h 696"/>
                  <a:gd name="T68" fmla="*/ 577 w 695"/>
                  <a:gd name="T69" fmla="*/ 157 h 696"/>
                  <a:gd name="T70" fmla="*/ 567 w 695"/>
                  <a:gd name="T71" fmla="*/ 174 h 696"/>
                  <a:gd name="T72" fmla="*/ 503 w 695"/>
                  <a:gd name="T73" fmla="*/ 237 h 696"/>
                  <a:gd name="T74" fmla="*/ 486 w 695"/>
                  <a:gd name="T75" fmla="*/ 249 h 696"/>
                  <a:gd name="T76" fmla="*/ 465 w 695"/>
                  <a:gd name="T77" fmla="*/ 344 h 696"/>
                  <a:gd name="T78" fmla="*/ 441 w 695"/>
                  <a:gd name="T79" fmla="*/ 396 h 696"/>
                  <a:gd name="T80" fmla="*/ 448 w 695"/>
                  <a:gd name="T81" fmla="*/ 443 h 696"/>
                  <a:gd name="T82" fmla="*/ 440 w 695"/>
                  <a:gd name="T83" fmla="*/ 513 h 696"/>
                  <a:gd name="T84" fmla="*/ 406 w 695"/>
                  <a:gd name="T85" fmla="*/ 575 h 696"/>
                  <a:gd name="T86" fmla="*/ 374 w 695"/>
                  <a:gd name="T87" fmla="*/ 609 h 696"/>
                  <a:gd name="T88" fmla="*/ 323 w 695"/>
                  <a:gd name="T89" fmla="*/ 639 h 696"/>
                  <a:gd name="T90" fmla="*/ 264 w 695"/>
                  <a:gd name="T91" fmla="*/ 654 h 696"/>
                  <a:gd name="T92" fmla="*/ 205 w 695"/>
                  <a:gd name="T93" fmla="*/ 650 h 696"/>
                  <a:gd name="T94" fmla="*/ 150 w 695"/>
                  <a:gd name="T95" fmla="*/ 630 h 696"/>
                  <a:gd name="T96" fmla="*/ 100 w 695"/>
                  <a:gd name="T97" fmla="*/ 595 h 696"/>
                  <a:gd name="T98" fmla="*/ 75 w 695"/>
                  <a:gd name="T99" fmla="*/ 562 h 696"/>
                  <a:gd name="T100" fmla="*/ 50 w 695"/>
                  <a:gd name="T101" fmla="*/ 508 h 696"/>
                  <a:gd name="T102" fmla="*/ 42 w 695"/>
                  <a:gd name="T103" fmla="*/ 450 h 696"/>
                  <a:gd name="T104" fmla="*/ 50 w 695"/>
                  <a:gd name="T105" fmla="*/ 393 h 696"/>
                  <a:gd name="T106" fmla="*/ 75 w 695"/>
                  <a:gd name="T107" fmla="*/ 338 h 696"/>
                  <a:gd name="T108" fmla="*/ 100 w 695"/>
                  <a:gd name="T109" fmla="*/ 306 h 696"/>
                  <a:gd name="T110" fmla="*/ 160 w 695"/>
                  <a:gd name="T111" fmla="*/ 264 h 696"/>
                  <a:gd name="T112" fmla="*/ 229 w 695"/>
                  <a:gd name="T113" fmla="*/ 247 h 696"/>
                  <a:gd name="T114" fmla="*/ 276 w 695"/>
                  <a:gd name="T115" fmla="*/ 249 h 696"/>
                  <a:gd name="T116" fmla="*/ 351 w 695"/>
                  <a:gd name="T117" fmla="*/ 231 h 696"/>
                  <a:gd name="T118" fmla="*/ 652 w 695"/>
                  <a:gd name="T119" fmla="*/ 145 h 6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5" h="696">
                    <a:moveTo>
                      <a:pt x="665" y="12"/>
                    </a:moveTo>
                    <a:lnTo>
                      <a:pt x="533" y="0"/>
                    </a:lnTo>
                    <a:lnTo>
                      <a:pt x="533" y="0"/>
                    </a:lnTo>
                    <a:lnTo>
                      <a:pt x="525" y="2"/>
                    </a:lnTo>
                    <a:lnTo>
                      <a:pt x="518" y="7"/>
                    </a:lnTo>
                    <a:lnTo>
                      <a:pt x="309" y="214"/>
                    </a:lnTo>
                    <a:lnTo>
                      <a:pt x="309" y="214"/>
                    </a:lnTo>
                    <a:lnTo>
                      <a:pt x="294" y="211"/>
                    </a:lnTo>
                    <a:lnTo>
                      <a:pt x="279" y="207"/>
                    </a:lnTo>
                    <a:lnTo>
                      <a:pt x="262" y="206"/>
                    </a:lnTo>
                    <a:lnTo>
                      <a:pt x="247" y="206"/>
                    </a:lnTo>
                    <a:lnTo>
                      <a:pt x="231" y="206"/>
                    </a:lnTo>
                    <a:lnTo>
                      <a:pt x="216" y="207"/>
                    </a:lnTo>
                    <a:lnTo>
                      <a:pt x="199" y="211"/>
                    </a:lnTo>
                    <a:lnTo>
                      <a:pt x="184" y="214"/>
                    </a:lnTo>
                    <a:lnTo>
                      <a:pt x="169" y="217"/>
                    </a:lnTo>
                    <a:lnTo>
                      <a:pt x="154" y="222"/>
                    </a:lnTo>
                    <a:lnTo>
                      <a:pt x="139" y="229"/>
                    </a:lnTo>
                    <a:lnTo>
                      <a:pt x="125" y="237"/>
                    </a:lnTo>
                    <a:lnTo>
                      <a:pt x="110" y="246"/>
                    </a:lnTo>
                    <a:lnTo>
                      <a:pt x="97" y="256"/>
                    </a:lnTo>
                    <a:lnTo>
                      <a:pt x="85" y="266"/>
                    </a:lnTo>
                    <a:lnTo>
                      <a:pt x="72" y="278"/>
                    </a:lnTo>
                    <a:lnTo>
                      <a:pt x="72" y="278"/>
                    </a:lnTo>
                    <a:lnTo>
                      <a:pt x="55" y="296"/>
                    </a:lnTo>
                    <a:lnTo>
                      <a:pt x="40" y="316"/>
                    </a:lnTo>
                    <a:lnTo>
                      <a:pt x="28" y="336"/>
                    </a:lnTo>
                    <a:lnTo>
                      <a:pt x="18" y="358"/>
                    </a:lnTo>
                    <a:lnTo>
                      <a:pt x="10" y="381"/>
                    </a:lnTo>
                    <a:lnTo>
                      <a:pt x="5" y="403"/>
                    </a:lnTo>
                    <a:lnTo>
                      <a:pt x="2" y="426"/>
                    </a:lnTo>
                    <a:lnTo>
                      <a:pt x="0" y="450"/>
                    </a:lnTo>
                    <a:lnTo>
                      <a:pt x="2" y="473"/>
                    </a:lnTo>
                    <a:lnTo>
                      <a:pt x="5" y="497"/>
                    </a:lnTo>
                    <a:lnTo>
                      <a:pt x="10" y="520"/>
                    </a:lnTo>
                    <a:lnTo>
                      <a:pt x="18" y="542"/>
                    </a:lnTo>
                    <a:lnTo>
                      <a:pt x="28" y="563"/>
                    </a:lnTo>
                    <a:lnTo>
                      <a:pt x="40" y="585"/>
                    </a:lnTo>
                    <a:lnTo>
                      <a:pt x="55" y="605"/>
                    </a:lnTo>
                    <a:lnTo>
                      <a:pt x="72" y="624"/>
                    </a:lnTo>
                    <a:lnTo>
                      <a:pt x="72" y="624"/>
                    </a:lnTo>
                    <a:lnTo>
                      <a:pt x="90" y="640"/>
                    </a:lnTo>
                    <a:lnTo>
                      <a:pt x="110" y="655"/>
                    </a:lnTo>
                    <a:lnTo>
                      <a:pt x="132" y="667"/>
                    </a:lnTo>
                    <a:lnTo>
                      <a:pt x="154" y="677"/>
                    </a:lnTo>
                    <a:lnTo>
                      <a:pt x="175" y="686"/>
                    </a:lnTo>
                    <a:lnTo>
                      <a:pt x="199" y="691"/>
                    </a:lnTo>
                    <a:lnTo>
                      <a:pt x="222" y="694"/>
                    </a:lnTo>
                    <a:lnTo>
                      <a:pt x="246" y="696"/>
                    </a:lnTo>
                    <a:lnTo>
                      <a:pt x="269" y="694"/>
                    </a:lnTo>
                    <a:lnTo>
                      <a:pt x="292" y="691"/>
                    </a:lnTo>
                    <a:lnTo>
                      <a:pt x="314" y="686"/>
                    </a:lnTo>
                    <a:lnTo>
                      <a:pt x="338" y="677"/>
                    </a:lnTo>
                    <a:lnTo>
                      <a:pt x="359" y="667"/>
                    </a:lnTo>
                    <a:lnTo>
                      <a:pt x="379" y="655"/>
                    </a:lnTo>
                    <a:lnTo>
                      <a:pt x="399" y="640"/>
                    </a:lnTo>
                    <a:lnTo>
                      <a:pt x="418" y="624"/>
                    </a:lnTo>
                    <a:lnTo>
                      <a:pt x="418" y="624"/>
                    </a:lnTo>
                    <a:lnTo>
                      <a:pt x="430" y="610"/>
                    </a:lnTo>
                    <a:lnTo>
                      <a:pt x="440" y="599"/>
                    </a:lnTo>
                    <a:lnTo>
                      <a:pt x="450" y="585"/>
                    </a:lnTo>
                    <a:lnTo>
                      <a:pt x="458" y="570"/>
                    </a:lnTo>
                    <a:lnTo>
                      <a:pt x="466" y="557"/>
                    </a:lnTo>
                    <a:lnTo>
                      <a:pt x="471" y="542"/>
                    </a:lnTo>
                    <a:lnTo>
                      <a:pt x="478" y="527"/>
                    </a:lnTo>
                    <a:lnTo>
                      <a:pt x="481" y="512"/>
                    </a:lnTo>
                    <a:lnTo>
                      <a:pt x="485" y="495"/>
                    </a:lnTo>
                    <a:lnTo>
                      <a:pt x="488" y="480"/>
                    </a:lnTo>
                    <a:lnTo>
                      <a:pt x="490" y="465"/>
                    </a:lnTo>
                    <a:lnTo>
                      <a:pt x="490" y="448"/>
                    </a:lnTo>
                    <a:lnTo>
                      <a:pt x="488" y="433"/>
                    </a:lnTo>
                    <a:lnTo>
                      <a:pt x="486" y="416"/>
                    </a:lnTo>
                    <a:lnTo>
                      <a:pt x="485" y="401"/>
                    </a:lnTo>
                    <a:lnTo>
                      <a:pt x="481" y="386"/>
                    </a:lnTo>
                    <a:lnTo>
                      <a:pt x="515" y="351"/>
                    </a:lnTo>
                    <a:lnTo>
                      <a:pt x="515" y="351"/>
                    </a:lnTo>
                    <a:lnTo>
                      <a:pt x="520" y="344"/>
                    </a:lnTo>
                    <a:lnTo>
                      <a:pt x="521" y="338"/>
                    </a:lnTo>
                    <a:lnTo>
                      <a:pt x="525" y="278"/>
                    </a:lnTo>
                    <a:lnTo>
                      <a:pt x="587" y="273"/>
                    </a:lnTo>
                    <a:lnTo>
                      <a:pt x="587" y="273"/>
                    </a:lnTo>
                    <a:lnTo>
                      <a:pt x="593" y="271"/>
                    </a:lnTo>
                    <a:lnTo>
                      <a:pt x="600" y="268"/>
                    </a:lnTo>
                    <a:lnTo>
                      <a:pt x="603" y="261"/>
                    </a:lnTo>
                    <a:lnTo>
                      <a:pt x="605" y="254"/>
                    </a:lnTo>
                    <a:lnTo>
                      <a:pt x="607" y="194"/>
                    </a:lnTo>
                    <a:lnTo>
                      <a:pt x="677" y="184"/>
                    </a:lnTo>
                    <a:lnTo>
                      <a:pt x="677" y="184"/>
                    </a:lnTo>
                    <a:lnTo>
                      <a:pt x="684" y="182"/>
                    </a:lnTo>
                    <a:lnTo>
                      <a:pt x="689" y="177"/>
                    </a:lnTo>
                    <a:lnTo>
                      <a:pt x="689" y="177"/>
                    </a:lnTo>
                    <a:lnTo>
                      <a:pt x="694" y="171"/>
                    </a:lnTo>
                    <a:lnTo>
                      <a:pt x="695" y="166"/>
                    </a:lnTo>
                    <a:lnTo>
                      <a:pt x="695" y="162"/>
                    </a:lnTo>
                    <a:lnTo>
                      <a:pt x="684" y="32"/>
                    </a:lnTo>
                    <a:lnTo>
                      <a:pt x="684" y="32"/>
                    </a:lnTo>
                    <a:lnTo>
                      <a:pt x="682" y="23"/>
                    </a:lnTo>
                    <a:lnTo>
                      <a:pt x="679" y="18"/>
                    </a:lnTo>
                    <a:lnTo>
                      <a:pt x="672" y="13"/>
                    </a:lnTo>
                    <a:lnTo>
                      <a:pt x="665" y="12"/>
                    </a:lnTo>
                    <a:lnTo>
                      <a:pt x="665" y="12"/>
                    </a:lnTo>
                    <a:close/>
                    <a:moveTo>
                      <a:pt x="652" y="145"/>
                    </a:moveTo>
                    <a:lnTo>
                      <a:pt x="585" y="156"/>
                    </a:lnTo>
                    <a:lnTo>
                      <a:pt x="585" y="156"/>
                    </a:lnTo>
                    <a:lnTo>
                      <a:pt x="577" y="157"/>
                    </a:lnTo>
                    <a:lnTo>
                      <a:pt x="572" y="162"/>
                    </a:lnTo>
                    <a:lnTo>
                      <a:pt x="568" y="167"/>
                    </a:lnTo>
                    <a:lnTo>
                      <a:pt x="567" y="174"/>
                    </a:lnTo>
                    <a:lnTo>
                      <a:pt x="565" y="234"/>
                    </a:lnTo>
                    <a:lnTo>
                      <a:pt x="503" y="237"/>
                    </a:lnTo>
                    <a:lnTo>
                      <a:pt x="503" y="237"/>
                    </a:lnTo>
                    <a:lnTo>
                      <a:pt x="496" y="239"/>
                    </a:lnTo>
                    <a:lnTo>
                      <a:pt x="491" y="242"/>
                    </a:lnTo>
                    <a:lnTo>
                      <a:pt x="486" y="249"/>
                    </a:lnTo>
                    <a:lnTo>
                      <a:pt x="485" y="256"/>
                    </a:lnTo>
                    <a:lnTo>
                      <a:pt x="481" y="328"/>
                    </a:lnTo>
                    <a:lnTo>
                      <a:pt x="465" y="344"/>
                    </a:lnTo>
                    <a:lnTo>
                      <a:pt x="435" y="375"/>
                    </a:lnTo>
                    <a:lnTo>
                      <a:pt x="435" y="375"/>
                    </a:lnTo>
                    <a:lnTo>
                      <a:pt x="441" y="396"/>
                    </a:lnTo>
                    <a:lnTo>
                      <a:pt x="446" y="420"/>
                    </a:lnTo>
                    <a:lnTo>
                      <a:pt x="446" y="420"/>
                    </a:lnTo>
                    <a:lnTo>
                      <a:pt x="448" y="443"/>
                    </a:lnTo>
                    <a:lnTo>
                      <a:pt x="448" y="467"/>
                    </a:lnTo>
                    <a:lnTo>
                      <a:pt x="445" y="490"/>
                    </a:lnTo>
                    <a:lnTo>
                      <a:pt x="440" y="513"/>
                    </a:lnTo>
                    <a:lnTo>
                      <a:pt x="431" y="535"/>
                    </a:lnTo>
                    <a:lnTo>
                      <a:pt x="419" y="555"/>
                    </a:lnTo>
                    <a:lnTo>
                      <a:pt x="406" y="575"/>
                    </a:lnTo>
                    <a:lnTo>
                      <a:pt x="389" y="595"/>
                    </a:lnTo>
                    <a:lnTo>
                      <a:pt x="389" y="595"/>
                    </a:lnTo>
                    <a:lnTo>
                      <a:pt x="374" y="609"/>
                    </a:lnTo>
                    <a:lnTo>
                      <a:pt x="358" y="620"/>
                    </a:lnTo>
                    <a:lnTo>
                      <a:pt x="339" y="630"/>
                    </a:lnTo>
                    <a:lnTo>
                      <a:pt x="323" y="639"/>
                    </a:lnTo>
                    <a:lnTo>
                      <a:pt x="302" y="645"/>
                    </a:lnTo>
                    <a:lnTo>
                      <a:pt x="284" y="650"/>
                    </a:lnTo>
                    <a:lnTo>
                      <a:pt x="264" y="654"/>
                    </a:lnTo>
                    <a:lnTo>
                      <a:pt x="246" y="654"/>
                    </a:lnTo>
                    <a:lnTo>
                      <a:pt x="226" y="654"/>
                    </a:lnTo>
                    <a:lnTo>
                      <a:pt x="205" y="650"/>
                    </a:lnTo>
                    <a:lnTo>
                      <a:pt x="187" y="645"/>
                    </a:lnTo>
                    <a:lnTo>
                      <a:pt x="169" y="639"/>
                    </a:lnTo>
                    <a:lnTo>
                      <a:pt x="150" y="630"/>
                    </a:lnTo>
                    <a:lnTo>
                      <a:pt x="134" y="620"/>
                    </a:lnTo>
                    <a:lnTo>
                      <a:pt x="117" y="609"/>
                    </a:lnTo>
                    <a:lnTo>
                      <a:pt x="100" y="595"/>
                    </a:lnTo>
                    <a:lnTo>
                      <a:pt x="100" y="595"/>
                    </a:lnTo>
                    <a:lnTo>
                      <a:pt x="87" y="579"/>
                    </a:lnTo>
                    <a:lnTo>
                      <a:pt x="75" y="562"/>
                    </a:lnTo>
                    <a:lnTo>
                      <a:pt x="65" y="545"/>
                    </a:lnTo>
                    <a:lnTo>
                      <a:pt x="57" y="527"/>
                    </a:lnTo>
                    <a:lnTo>
                      <a:pt x="50" y="508"/>
                    </a:lnTo>
                    <a:lnTo>
                      <a:pt x="45" y="490"/>
                    </a:lnTo>
                    <a:lnTo>
                      <a:pt x="42" y="470"/>
                    </a:lnTo>
                    <a:lnTo>
                      <a:pt x="42" y="450"/>
                    </a:lnTo>
                    <a:lnTo>
                      <a:pt x="42" y="431"/>
                    </a:lnTo>
                    <a:lnTo>
                      <a:pt x="45" y="411"/>
                    </a:lnTo>
                    <a:lnTo>
                      <a:pt x="50" y="393"/>
                    </a:lnTo>
                    <a:lnTo>
                      <a:pt x="57" y="373"/>
                    </a:lnTo>
                    <a:lnTo>
                      <a:pt x="65" y="356"/>
                    </a:lnTo>
                    <a:lnTo>
                      <a:pt x="75" y="338"/>
                    </a:lnTo>
                    <a:lnTo>
                      <a:pt x="87" y="321"/>
                    </a:lnTo>
                    <a:lnTo>
                      <a:pt x="100" y="306"/>
                    </a:lnTo>
                    <a:lnTo>
                      <a:pt x="100" y="306"/>
                    </a:lnTo>
                    <a:lnTo>
                      <a:pt x="120" y="289"/>
                    </a:lnTo>
                    <a:lnTo>
                      <a:pt x="139" y="276"/>
                    </a:lnTo>
                    <a:lnTo>
                      <a:pt x="160" y="264"/>
                    </a:lnTo>
                    <a:lnTo>
                      <a:pt x="182" y="256"/>
                    </a:lnTo>
                    <a:lnTo>
                      <a:pt x="205" y="251"/>
                    </a:lnTo>
                    <a:lnTo>
                      <a:pt x="229" y="247"/>
                    </a:lnTo>
                    <a:lnTo>
                      <a:pt x="252" y="247"/>
                    </a:lnTo>
                    <a:lnTo>
                      <a:pt x="276" y="249"/>
                    </a:lnTo>
                    <a:lnTo>
                      <a:pt x="276" y="249"/>
                    </a:lnTo>
                    <a:lnTo>
                      <a:pt x="297" y="254"/>
                    </a:lnTo>
                    <a:lnTo>
                      <a:pt x="321" y="261"/>
                    </a:lnTo>
                    <a:lnTo>
                      <a:pt x="351" y="231"/>
                    </a:lnTo>
                    <a:lnTo>
                      <a:pt x="540" y="42"/>
                    </a:lnTo>
                    <a:lnTo>
                      <a:pt x="645" y="52"/>
                    </a:lnTo>
                    <a:lnTo>
                      <a:pt x="652" y="1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9" name="Freeform 41">
                <a:extLst>
                  <a:ext uri="{FF2B5EF4-FFF2-40B4-BE49-F238E27FC236}">
                    <a16:creationId xmlns:a16="http://schemas.microsoft.com/office/drawing/2014/main" id="{173BA3FC-E9A1-854E-A827-979D79A58A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3170" y="3816122"/>
                <a:ext cx="116380" cy="117458"/>
              </a:xfrm>
              <a:custGeom>
                <a:avLst/>
                <a:gdLst>
                  <a:gd name="T0" fmla="*/ 188 w 218"/>
                  <a:gd name="T1" fmla="*/ 5 h 217"/>
                  <a:gd name="T2" fmla="*/ 5 w 218"/>
                  <a:gd name="T3" fmla="*/ 187 h 217"/>
                  <a:gd name="T4" fmla="*/ 5 w 218"/>
                  <a:gd name="T5" fmla="*/ 187 h 217"/>
                  <a:gd name="T6" fmla="*/ 2 w 218"/>
                  <a:gd name="T7" fmla="*/ 192 h 217"/>
                  <a:gd name="T8" fmla="*/ 0 w 218"/>
                  <a:gd name="T9" fmla="*/ 199 h 217"/>
                  <a:gd name="T10" fmla="*/ 2 w 218"/>
                  <a:gd name="T11" fmla="*/ 205 h 217"/>
                  <a:gd name="T12" fmla="*/ 5 w 218"/>
                  <a:gd name="T13" fmla="*/ 212 h 217"/>
                  <a:gd name="T14" fmla="*/ 5 w 218"/>
                  <a:gd name="T15" fmla="*/ 212 h 217"/>
                  <a:gd name="T16" fmla="*/ 12 w 218"/>
                  <a:gd name="T17" fmla="*/ 215 h 217"/>
                  <a:gd name="T18" fmla="*/ 19 w 218"/>
                  <a:gd name="T19" fmla="*/ 217 h 217"/>
                  <a:gd name="T20" fmla="*/ 25 w 218"/>
                  <a:gd name="T21" fmla="*/ 215 h 217"/>
                  <a:gd name="T22" fmla="*/ 30 w 218"/>
                  <a:gd name="T23" fmla="*/ 212 h 217"/>
                  <a:gd name="T24" fmla="*/ 213 w 218"/>
                  <a:gd name="T25" fmla="*/ 30 h 217"/>
                  <a:gd name="T26" fmla="*/ 213 w 218"/>
                  <a:gd name="T27" fmla="*/ 30 h 217"/>
                  <a:gd name="T28" fmla="*/ 216 w 218"/>
                  <a:gd name="T29" fmla="*/ 23 h 217"/>
                  <a:gd name="T30" fmla="*/ 218 w 218"/>
                  <a:gd name="T31" fmla="*/ 16 h 217"/>
                  <a:gd name="T32" fmla="*/ 216 w 218"/>
                  <a:gd name="T33" fmla="*/ 10 h 217"/>
                  <a:gd name="T34" fmla="*/ 213 w 218"/>
                  <a:gd name="T35" fmla="*/ 5 h 217"/>
                  <a:gd name="T36" fmla="*/ 213 w 218"/>
                  <a:gd name="T37" fmla="*/ 5 h 217"/>
                  <a:gd name="T38" fmla="*/ 208 w 218"/>
                  <a:gd name="T39" fmla="*/ 1 h 217"/>
                  <a:gd name="T40" fmla="*/ 201 w 218"/>
                  <a:gd name="T41" fmla="*/ 0 h 217"/>
                  <a:gd name="T42" fmla="*/ 194 w 218"/>
                  <a:gd name="T43" fmla="*/ 1 h 217"/>
                  <a:gd name="T44" fmla="*/ 188 w 218"/>
                  <a:gd name="T45" fmla="*/ 5 h 217"/>
                  <a:gd name="T46" fmla="*/ 188 w 218"/>
                  <a:gd name="T47" fmla="*/ 5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18" h="217">
                    <a:moveTo>
                      <a:pt x="188" y="5"/>
                    </a:moveTo>
                    <a:lnTo>
                      <a:pt x="5" y="187"/>
                    </a:lnTo>
                    <a:lnTo>
                      <a:pt x="5" y="187"/>
                    </a:lnTo>
                    <a:lnTo>
                      <a:pt x="2" y="192"/>
                    </a:lnTo>
                    <a:lnTo>
                      <a:pt x="0" y="199"/>
                    </a:lnTo>
                    <a:lnTo>
                      <a:pt x="2" y="205"/>
                    </a:lnTo>
                    <a:lnTo>
                      <a:pt x="5" y="212"/>
                    </a:lnTo>
                    <a:lnTo>
                      <a:pt x="5" y="212"/>
                    </a:lnTo>
                    <a:lnTo>
                      <a:pt x="12" y="215"/>
                    </a:lnTo>
                    <a:lnTo>
                      <a:pt x="19" y="217"/>
                    </a:lnTo>
                    <a:lnTo>
                      <a:pt x="25" y="215"/>
                    </a:lnTo>
                    <a:lnTo>
                      <a:pt x="30" y="212"/>
                    </a:lnTo>
                    <a:lnTo>
                      <a:pt x="213" y="30"/>
                    </a:lnTo>
                    <a:lnTo>
                      <a:pt x="213" y="30"/>
                    </a:lnTo>
                    <a:lnTo>
                      <a:pt x="216" y="23"/>
                    </a:lnTo>
                    <a:lnTo>
                      <a:pt x="218" y="16"/>
                    </a:lnTo>
                    <a:lnTo>
                      <a:pt x="216" y="10"/>
                    </a:lnTo>
                    <a:lnTo>
                      <a:pt x="213" y="5"/>
                    </a:lnTo>
                    <a:lnTo>
                      <a:pt x="213" y="5"/>
                    </a:lnTo>
                    <a:lnTo>
                      <a:pt x="208" y="1"/>
                    </a:lnTo>
                    <a:lnTo>
                      <a:pt x="201" y="0"/>
                    </a:lnTo>
                    <a:lnTo>
                      <a:pt x="194" y="1"/>
                    </a:lnTo>
                    <a:lnTo>
                      <a:pt x="188" y="5"/>
                    </a:lnTo>
                    <a:lnTo>
                      <a:pt x="188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0" name="Freeform 42">
                <a:extLst>
                  <a:ext uri="{FF2B5EF4-FFF2-40B4-BE49-F238E27FC236}">
                    <a16:creationId xmlns:a16="http://schemas.microsoft.com/office/drawing/2014/main" id="{12F31CF6-0CB2-BC47-BE3F-5C75531AC0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09247" y="3988537"/>
                <a:ext cx="90518" cy="89440"/>
              </a:xfrm>
              <a:custGeom>
                <a:avLst/>
                <a:gdLst>
                  <a:gd name="T0" fmla="*/ 25 w 167"/>
                  <a:gd name="T1" fmla="*/ 23 h 165"/>
                  <a:gd name="T2" fmla="*/ 7 w 167"/>
                  <a:gd name="T3" fmla="*/ 52 h 165"/>
                  <a:gd name="T4" fmla="*/ 0 w 167"/>
                  <a:gd name="T5" fmla="*/ 84 h 165"/>
                  <a:gd name="T6" fmla="*/ 7 w 167"/>
                  <a:gd name="T7" fmla="*/ 114 h 165"/>
                  <a:gd name="T8" fmla="*/ 25 w 167"/>
                  <a:gd name="T9" fmla="*/ 142 h 165"/>
                  <a:gd name="T10" fmla="*/ 39 w 167"/>
                  <a:gd name="T11" fmla="*/ 152 h 165"/>
                  <a:gd name="T12" fmla="*/ 69 w 167"/>
                  <a:gd name="T13" fmla="*/ 165 h 165"/>
                  <a:gd name="T14" fmla="*/ 101 w 167"/>
                  <a:gd name="T15" fmla="*/ 165 h 165"/>
                  <a:gd name="T16" fmla="*/ 131 w 167"/>
                  <a:gd name="T17" fmla="*/ 152 h 165"/>
                  <a:gd name="T18" fmla="*/ 144 w 167"/>
                  <a:gd name="T19" fmla="*/ 142 h 165"/>
                  <a:gd name="T20" fmla="*/ 162 w 167"/>
                  <a:gd name="T21" fmla="*/ 114 h 165"/>
                  <a:gd name="T22" fmla="*/ 167 w 167"/>
                  <a:gd name="T23" fmla="*/ 84 h 165"/>
                  <a:gd name="T24" fmla="*/ 162 w 167"/>
                  <a:gd name="T25" fmla="*/ 52 h 165"/>
                  <a:gd name="T26" fmla="*/ 144 w 167"/>
                  <a:gd name="T27" fmla="*/ 23 h 165"/>
                  <a:gd name="T28" fmla="*/ 131 w 167"/>
                  <a:gd name="T29" fmla="*/ 13 h 165"/>
                  <a:gd name="T30" fmla="*/ 101 w 167"/>
                  <a:gd name="T31" fmla="*/ 2 h 165"/>
                  <a:gd name="T32" fmla="*/ 69 w 167"/>
                  <a:gd name="T33" fmla="*/ 2 h 165"/>
                  <a:gd name="T34" fmla="*/ 39 w 167"/>
                  <a:gd name="T35" fmla="*/ 13 h 165"/>
                  <a:gd name="T36" fmla="*/ 25 w 167"/>
                  <a:gd name="T37" fmla="*/ 23 h 165"/>
                  <a:gd name="T38" fmla="*/ 114 w 167"/>
                  <a:gd name="T39" fmla="*/ 114 h 165"/>
                  <a:gd name="T40" fmla="*/ 101 w 167"/>
                  <a:gd name="T41" fmla="*/ 122 h 165"/>
                  <a:gd name="T42" fmla="*/ 84 w 167"/>
                  <a:gd name="T43" fmla="*/ 125 h 165"/>
                  <a:gd name="T44" fmla="*/ 69 w 167"/>
                  <a:gd name="T45" fmla="*/ 122 h 165"/>
                  <a:gd name="T46" fmla="*/ 54 w 167"/>
                  <a:gd name="T47" fmla="*/ 114 h 165"/>
                  <a:gd name="T48" fmla="*/ 49 w 167"/>
                  <a:gd name="T49" fmla="*/ 107 h 165"/>
                  <a:gd name="T50" fmla="*/ 42 w 167"/>
                  <a:gd name="T51" fmla="*/ 90 h 165"/>
                  <a:gd name="T52" fmla="*/ 42 w 167"/>
                  <a:gd name="T53" fmla="*/ 75 h 165"/>
                  <a:gd name="T54" fmla="*/ 49 w 167"/>
                  <a:gd name="T55" fmla="*/ 60 h 165"/>
                  <a:gd name="T56" fmla="*/ 54 w 167"/>
                  <a:gd name="T57" fmla="*/ 53 h 165"/>
                  <a:gd name="T58" fmla="*/ 69 w 167"/>
                  <a:gd name="T59" fmla="*/ 43 h 165"/>
                  <a:gd name="T60" fmla="*/ 84 w 167"/>
                  <a:gd name="T61" fmla="*/ 40 h 165"/>
                  <a:gd name="T62" fmla="*/ 101 w 167"/>
                  <a:gd name="T63" fmla="*/ 43 h 165"/>
                  <a:gd name="T64" fmla="*/ 114 w 167"/>
                  <a:gd name="T65" fmla="*/ 53 h 165"/>
                  <a:gd name="T66" fmla="*/ 121 w 167"/>
                  <a:gd name="T67" fmla="*/ 60 h 165"/>
                  <a:gd name="T68" fmla="*/ 126 w 167"/>
                  <a:gd name="T69" fmla="*/ 75 h 165"/>
                  <a:gd name="T70" fmla="*/ 126 w 167"/>
                  <a:gd name="T71" fmla="*/ 90 h 165"/>
                  <a:gd name="T72" fmla="*/ 121 w 167"/>
                  <a:gd name="T73" fmla="*/ 107 h 165"/>
                  <a:gd name="T74" fmla="*/ 114 w 167"/>
                  <a:gd name="T75" fmla="*/ 114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" h="165">
                    <a:moveTo>
                      <a:pt x="25" y="23"/>
                    </a:moveTo>
                    <a:lnTo>
                      <a:pt x="25" y="23"/>
                    </a:lnTo>
                    <a:lnTo>
                      <a:pt x="15" y="37"/>
                    </a:lnTo>
                    <a:lnTo>
                      <a:pt x="7" y="52"/>
                    </a:lnTo>
                    <a:lnTo>
                      <a:pt x="2" y="67"/>
                    </a:lnTo>
                    <a:lnTo>
                      <a:pt x="0" y="84"/>
                    </a:lnTo>
                    <a:lnTo>
                      <a:pt x="2" y="99"/>
                    </a:lnTo>
                    <a:lnTo>
                      <a:pt x="7" y="114"/>
                    </a:lnTo>
                    <a:lnTo>
                      <a:pt x="15" y="129"/>
                    </a:lnTo>
                    <a:lnTo>
                      <a:pt x="25" y="142"/>
                    </a:lnTo>
                    <a:lnTo>
                      <a:pt x="25" y="142"/>
                    </a:lnTo>
                    <a:lnTo>
                      <a:pt x="39" y="152"/>
                    </a:lnTo>
                    <a:lnTo>
                      <a:pt x="54" y="160"/>
                    </a:lnTo>
                    <a:lnTo>
                      <a:pt x="69" y="165"/>
                    </a:lnTo>
                    <a:lnTo>
                      <a:pt x="84" y="165"/>
                    </a:lnTo>
                    <a:lnTo>
                      <a:pt x="101" y="165"/>
                    </a:lnTo>
                    <a:lnTo>
                      <a:pt x="116" y="160"/>
                    </a:lnTo>
                    <a:lnTo>
                      <a:pt x="131" y="152"/>
                    </a:lnTo>
                    <a:lnTo>
                      <a:pt x="144" y="142"/>
                    </a:lnTo>
                    <a:lnTo>
                      <a:pt x="144" y="142"/>
                    </a:lnTo>
                    <a:lnTo>
                      <a:pt x="154" y="129"/>
                    </a:lnTo>
                    <a:lnTo>
                      <a:pt x="162" y="114"/>
                    </a:lnTo>
                    <a:lnTo>
                      <a:pt x="166" y="99"/>
                    </a:lnTo>
                    <a:lnTo>
                      <a:pt x="167" y="84"/>
                    </a:lnTo>
                    <a:lnTo>
                      <a:pt x="166" y="67"/>
                    </a:lnTo>
                    <a:lnTo>
                      <a:pt x="162" y="52"/>
                    </a:lnTo>
                    <a:lnTo>
                      <a:pt x="154" y="37"/>
                    </a:lnTo>
                    <a:lnTo>
                      <a:pt x="144" y="23"/>
                    </a:lnTo>
                    <a:lnTo>
                      <a:pt x="144" y="23"/>
                    </a:lnTo>
                    <a:lnTo>
                      <a:pt x="131" y="13"/>
                    </a:lnTo>
                    <a:lnTo>
                      <a:pt x="116" y="5"/>
                    </a:lnTo>
                    <a:lnTo>
                      <a:pt x="101" y="2"/>
                    </a:lnTo>
                    <a:lnTo>
                      <a:pt x="84" y="0"/>
                    </a:lnTo>
                    <a:lnTo>
                      <a:pt x="69" y="2"/>
                    </a:lnTo>
                    <a:lnTo>
                      <a:pt x="54" y="5"/>
                    </a:lnTo>
                    <a:lnTo>
                      <a:pt x="39" y="13"/>
                    </a:lnTo>
                    <a:lnTo>
                      <a:pt x="25" y="23"/>
                    </a:lnTo>
                    <a:lnTo>
                      <a:pt x="25" y="23"/>
                    </a:lnTo>
                    <a:close/>
                    <a:moveTo>
                      <a:pt x="114" y="114"/>
                    </a:moveTo>
                    <a:lnTo>
                      <a:pt x="114" y="114"/>
                    </a:lnTo>
                    <a:lnTo>
                      <a:pt x="107" y="119"/>
                    </a:lnTo>
                    <a:lnTo>
                      <a:pt x="101" y="122"/>
                    </a:lnTo>
                    <a:lnTo>
                      <a:pt x="92" y="125"/>
                    </a:lnTo>
                    <a:lnTo>
                      <a:pt x="84" y="125"/>
                    </a:lnTo>
                    <a:lnTo>
                      <a:pt x="75" y="125"/>
                    </a:lnTo>
                    <a:lnTo>
                      <a:pt x="69" y="122"/>
                    </a:lnTo>
                    <a:lnTo>
                      <a:pt x="60" y="119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49" y="107"/>
                    </a:lnTo>
                    <a:lnTo>
                      <a:pt x="45" y="99"/>
                    </a:lnTo>
                    <a:lnTo>
                      <a:pt x="42" y="90"/>
                    </a:lnTo>
                    <a:lnTo>
                      <a:pt x="42" y="84"/>
                    </a:lnTo>
                    <a:lnTo>
                      <a:pt x="42" y="75"/>
                    </a:lnTo>
                    <a:lnTo>
                      <a:pt x="45" y="67"/>
                    </a:lnTo>
                    <a:lnTo>
                      <a:pt x="49" y="60"/>
                    </a:lnTo>
                    <a:lnTo>
                      <a:pt x="54" y="53"/>
                    </a:lnTo>
                    <a:lnTo>
                      <a:pt x="54" y="53"/>
                    </a:lnTo>
                    <a:lnTo>
                      <a:pt x="60" y="47"/>
                    </a:lnTo>
                    <a:lnTo>
                      <a:pt x="69" y="43"/>
                    </a:lnTo>
                    <a:lnTo>
                      <a:pt x="75" y="42"/>
                    </a:lnTo>
                    <a:lnTo>
                      <a:pt x="84" y="40"/>
                    </a:lnTo>
                    <a:lnTo>
                      <a:pt x="92" y="42"/>
                    </a:lnTo>
                    <a:lnTo>
                      <a:pt x="101" y="43"/>
                    </a:lnTo>
                    <a:lnTo>
                      <a:pt x="107" y="47"/>
                    </a:lnTo>
                    <a:lnTo>
                      <a:pt x="114" y="53"/>
                    </a:lnTo>
                    <a:lnTo>
                      <a:pt x="114" y="53"/>
                    </a:lnTo>
                    <a:lnTo>
                      <a:pt x="121" y="60"/>
                    </a:lnTo>
                    <a:lnTo>
                      <a:pt x="124" y="67"/>
                    </a:lnTo>
                    <a:lnTo>
                      <a:pt x="126" y="75"/>
                    </a:lnTo>
                    <a:lnTo>
                      <a:pt x="127" y="84"/>
                    </a:lnTo>
                    <a:lnTo>
                      <a:pt x="126" y="90"/>
                    </a:lnTo>
                    <a:lnTo>
                      <a:pt x="124" y="99"/>
                    </a:lnTo>
                    <a:lnTo>
                      <a:pt x="121" y="107"/>
                    </a:lnTo>
                    <a:lnTo>
                      <a:pt x="114" y="114"/>
                    </a:lnTo>
                    <a:lnTo>
                      <a:pt x="114" y="1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287" name="Rechteck 14">
            <a:extLst>
              <a:ext uri="{FF2B5EF4-FFF2-40B4-BE49-F238E27FC236}">
                <a16:creationId xmlns:a16="http://schemas.microsoft.com/office/drawing/2014/main" id="{34F7DF6C-1835-CF48-9AE7-07678D280F2E}"/>
              </a:ext>
            </a:extLst>
          </p:cNvPr>
          <p:cNvSpPr/>
          <p:nvPr/>
        </p:nvSpPr>
        <p:spPr bwMode="gray">
          <a:xfrm>
            <a:off x="3922996" y="3961618"/>
            <a:ext cx="7344816" cy="792088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rgbClr val="9B9B9B"/>
              </a:buClr>
            </a:pPr>
            <a:r>
              <a:rPr lang="en-US" sz="2800" b="1" dirty="0"/>
              <a:t>From 97% to ~</a:t>
            </a:r>
            <a:r>
              <a:rPr lang="en-US" sz="2800" b="1" dirty="0">
                <a:solidFill>
                  <a:srgbClr val="092A5E"/>
                </a:solidFill>
              </a:rPr>
              <a:t>99</a:t>
            </a:r>
            <a:r>
              <a:rPr lang="en-US" sz="2800" dirty="0">
                <a:solidFill>
                  <a:srgbClr val="092A5E"/>
                </a:solidFill>
              </a:rPr>
              <a:t>.99 %     </a:t>
            </a:r>
            <a:r>
              <a:rPr lang="en-US" sz="2000" dirty="0">
                <a:solidFill>
                  <a:schemeClr val="bg1"/>
                </a:solidFill>
              </a:rPr>
              <a:t>Infrastructure availability</a:t>
            </a:r>
            <a:endParaRPr lang="de-DE" sz="2000" kern="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298" name="Group 297">
            <a:extLst>
              <a:ext uri="{FF2B5EF4-FFF2-40B4-BE49-F238E27FC236}">
                <a16:creationId xmlns:a16="http://schemas.microsoft.com/office/drawing/2014/main" id="{DFC03A2E-0C1A-D54D-A4D3-BD75F8F6B679}"/>
              </a:ext>
            </a:extLst>
          </p:cNvPr>
          <p:cNvGrpSpPr/>
          <p:nvPr/>
        </p:nvGrpSpPr>
        <p:grpSpPr>
          <a:xfrm>
            <a:off x="10585573" y="4104183"/>
            <a:ext cx="595119" cy="501055"/>
            <a:chOff x="4455603" y="1799555"/>
            <a:chExt cx="310610" cy="310610"/>
          </a:xfrm>
          <a:solidFill>
            <a:schemeClr val="tx1"/>
          </a:solidFill>
        </p:grpSpPr>
        <p:sp>
          <p:nvSpPr>
            <p:cNvPr id="299" name="Freeform 148">
              <a:extLst>
                <a:ext uri="{FF2B5EF4-FFF2-40B4-BE49-F238E27FC236}">
                  <a16:creationId xmlns:a16="http://schemas.microsoft.com/office/drawing/2014/main" id="{F3A11C88-8D59-E04E-BA30-D6FF30B7D8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5603" y="1799555"/>
              <a:ext cx="310610" cy="310610"/>
            </a:xfrm>
            <a:custGeom>
              <a:avLst/>
              <a:gdLst>
                <a:gd name="T0" fmla="*/ 353 w 786"/>
                <a:gd name="T1" fmla="*/ 783 h 785"/>
                <a:gd name="T2" fmla="*/ 242 w 786"/>
                <a:gd name="T3" fmla="*/ 753 h 785"/>
                <a:gd name="T4" fmla="*/ 143 w 786"/>
                <a:gd name="T5" fmla="*/ 696 h 785"/>
                <a:gd name="T6" fmla="*/ 69 w 786"/>
                <a:gd name="T7" fmla="*/ 612 h 785"/>
                <a:gd name="T8" fmla="*/ 19 w 786"/>
                <a:gd name="T9" fmla="*/ 508 h 785"/>
                <a:gd name="T10" fmla="*/ 0 w 786"/>
                <a:gd name="T11" fmla="*/ 393 h 785"/>
                <a:gd name="T12" fmla="*/ 10 w 786"/>
                <a:gd name="T13" fmla="*/ 313 h 785"/>
                <a:gd name="T14" fmla="*/ 49 w 786"/>
                <a:gd name="T15" fmla="*/ 206 h 785"/>
                <a:gd name="T16" fmla="*/ 116 w 786"/>
                <a:gd name="T17" fmla="*/ 115 h 785"/>
                <a:gd name="T18" fmla="*/ 207 w 786"/>
                <a:gd name="T19" fmla="*/ 48 h 785"/>
                <a:gd name="T20" fmla="*/ 314 w 786"/>
                <a:gd name="T21" fmla="*/ 9 h 785"/>
                <a:gd name="T22" fmla="*/ 394 w 786"/>
                <a:gd name="T23" fmla="*/ 0 h 785"/>
                <a:gd name="T24" fmla="*/ 509 w 786"/>
                <a:gd name="T25" fmla="*/ 18 h 785"/>
                <a:gd name="T26" fmla="*/ 613 w 786"/>
                <a:gd name="T27" fmla="*/ 66 h 785"/>
                <a:gd name="T28" fmla="*/ 697 w 786"/>
                <a:gd name="T29" fmla="*/ 143 h 785"/>
                <a:gd name="T30" fmla="*/ 754 w 786"/>
                <a:gd name="T31" fmla="*/ 239 h 785"/>
                <a:gd name="T32" fmla="*/ 784 w 786"/>
                <a:gd name="T33" fmla="*/ 352 h 785"/>
                <a:gd name="T34" fmla="*/ 784 w 786"/>
                <a:gd name="T35" fmla="*/ 432 h 785"/>
                <a:gd name="T36" fmla="*/ 754 w 786"/>
                <a:gd name="T37" fmla="*/ 545 h 785"/>
                <a:gd name="T38" fmla="*/ 697 w 786"/>
                <a:gd name="T39" fmla="*/ 642 h 785"/>
                <a:gd name="T40" fmla="*/ 613 w 786"/>
                <a:gd name="T41" fmla="*/ 718 h 785"/>
                <a:gd name="T42" fmla="*/ 509 w 786"/>
                <a:gd name="T43" fmla="*/ 766 h 785"/>
                <a:gd name="T44" fmla="*/ 394 w 786"/>
                <a:gd name="T45" fmla="*/ 785 h 785"/>
                <a:gd name="T46" fmla="*/ 394 w 786"/>
                <a:gd name="T47" fmla="*/ 53 h 785"/>
                <a:gd name="T48" fmla="*/ 292 w 786"/>
                <a:gd name="T49" fmla="*/ 68 h 785"/>
                <a:gd name="T50" fmla="*/ 203 w 786"/>
                <a:gd name="T51" fmla="*/ 111 h 785"/>
                <a:gd name="T52" fmla="*/ 132 w 786"/>
                <a:gd name="T53" fmla="*/ 176 h 785"/>
                <a:gd name="T54" fmla="*/ 80 w 786"/>
                <a:gd name="T55" fmla="*/ 259 h 785"/>
                <a:gd name="T56" fmla="*/ 56 w 786"/>
                <a:gd name="T57" fmla="*/ 358 h 785"/>
                <a:gd name="T58" fmla="*/ 56 w 786"/>
                <a:gd name="T59" fmla="*/ 427 h 785"/>
                <a:gd name="T60" fmla="*/ 80 w 786"/>
                <a:gd name="T61" fmla="*/ 525 h 785"/>
                <a:gd name="T62" fmla="*/ 132 w 786"/>
                <a:gd name="T63" fmla="*/ 608 h 785"/>
                <a:gd name="T64" fmla="*/ 203 w 786"/>
                <a:gd name="T65" fmla="*/ 673 h 785"/>
                <a:gd name="T66" fmla="*/ 292 w 786"/>
                <a:gd name="T67" fmla="*/ 716 h 785"/>
                <a:gd name="T68" fmla="*/ 394 w 786"/>
                <a:gd name="T69" fmla="*/ 731 h 785"/>
                <a:gd name="T70" fmla="*/ 461 w 786"/>
                <a:gd name="T71" fmla="*/ 725 h 785"/>
                <a:gd name="T72" fmla="*/ 556 w 786"/>
                <a:gd name="T73" fmla="*/ 690 h 785"/>
                <a:gd name="T74" fmla="*/ 633 w 786"/>
                <a:gd name="T75" fmla="*/ 633 h 785"/>
                <a:gd name="T76" fmla="*/ 691 w 786"/>
                <a:gd name="T77" fmla="*/ 555 h 785"/>
                <a:gd name="T78" fmla="*/ 726 w 786"/>
                <a:gd name="T79" fmla="*/ 460 h 785"/>
                <a:gd name="T80" fmla="*/ 734 w 786"/>
                <a:gd name="T81" fmla="*/ 393 h 785"/>
                <a:gd name="T82" fmla="*/ 717 w 786"/>
                <a:gd name="T83" fmla="*/ 291 h 785"/>
                <a:gd name="T84" fmla="*/ 674 w 786"/>
                <a:gd name="T85" fmla="*/ 202 h 785"/>
                <a:gd name="T86" fmla="*/ 609 w 786"/>
                <a:gd name="T87" fmla="*/ 131 h 785"/>
                <a:gd name="T88" fmla="*/ 526 w 786"/>
                <a:gd name="T89" fmla="*/ 79 h 785"/>
                <a:gd name="T90" fmla="*/ 427 w 786"/>
                <a:gd name="T91" fmla="*/ 55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86" h="785">
                  <a:moveTo>
                    <a:pt x="394" y="785"/>
                  </a:moveTo>
                  <a:lnTo>
                    <a:pt x="394" y="785"/>
                  </a:lnTo>
                  <a:lnTo>
                    <a:pt x="353" y="783"/>
                  </a:lnTo>
                  <a:lnTo>
                    <a:pt x="314" y="777"/>
                  </a:lnTo>
                  <a:lnTo>
                    <a:pt x="277" y="766"/>
                  </a:lnTo>
                  <a:lnTo>
                    <a:pt x="242" y="753"/>
                  </a:lnTo>
                  <a:lnTo>
                    <a:pt x="207" y="736"/>
                  </a:lnTo>
                  <a:lnTo>
                    <a:pt x="175" y="718"/>
                  </a:lnTo>
                  <a:lnTo>
                    <a:pt x="143" y="696"/>
                  </a:lnTo>
                  <a:lnTo>
                    <a:pt x="116" y="670"/>
                  </a:lnTo>
                  <a:lnTo>
                    <a:pt x="91" y="642"/>
                  </a:lnTo>
                  <a:lnTo>
                    <a:pt x="69" y="612"/>
                  </a:lnTo>
                  <a:lnTo>
                    <a:pt x="49" y="579"/>
                  </a:lnTo>
                  <a:lnTo>
                    <a:pt x="32" y="545"/>
                  </a:lnTo>
                  <a:lnTo>
                    <a:pt x="19" y="508"/>
                  </a:lnTo>
                  <a:lnTo>
                    <a:pt x="10" y="471"/>
                  </a:lnTo>
                  <a:lnTo>
                    <a:pt x="2" y="432"/>
                  </a:lnTo>
                  <a:lnTo>
                    <a:pt x="0" y="393"/>
                  </a:lnTo>
                  <a:lnTo>
                    <a:pt x="0" y="393"/>
                  </a:lnTo>
                  <a:lnTo>
                    <a:pt x="2" y="352"/>
                  </a:lnTo>
                  <a:lnTo>
                    <a:pt x="10" y="313"/>
                  </a:lnTo>
                  <a:lnTo>
                    <a:pt x="19" y="276"/>
                  </a:lnTo>
                  <a:lnTo>
                    <a:pt x="32" y="239"/>
                  </a:lnTo>
                  <a:lnTo>
                    <a:pt x="49" y="206"/>
                  </a:lnTo>
                  <a:lnTo>
                    <a:pt x="69" y="174"/>
                  </a:lnTo>
                  <a:lnTo>
                    <a:pt x="91" y="143"/>
                  </a:lnTo>
                  <a:lnTo>
                    <a:pt x="116" y="115"/>
                  </a:lnTo>
                  <a:lnTo>
                    <a:pt x="143" y="91"/>
                  </a:lnTo>
                  <a:lnTo>
                    <a:pt x="175" y="66"/>
                  </a:lnTo>
                  <a:lnTo>
                    <a:pt x="207" y="48"/>
                  </a:lnTo>
                  <a:lnTo>
                    <a:pt x="242" y="31"/>
                  </a:lnTo>
                  <a:lnTo>
                    <a:pt x="277" y="18"/>
                  </a:lnTo>
                  <a:lnTo>
                    <a:pt x="314" y="9"/>
                  </a:lnTo>
                  <a:lnTo>
                    <a:pt x="353" y="1"/>
                  </a:lnTo>
                  <a:lnTo>
                    <a:pt x="394" y="0"/>
                  </a:lnTo>
                  <a:lnTo>
                    <a:pt x="394" y="0"/>
                  </a:lnTo>
                  <a:lnTo>
                    <a:pt x="433" y="1"/>
                  </a:lnTo>
                  <a:lnTo>
                    <a:pt x="472" y="9"/>
                  </a:lnTo>
                  <a:lnTo>
                    <a:pt x="509" y="18"/>
                  </a:lnTo>
                  <a:lnTo>
                    <a:pt x="546" y="31"/>
                  </a:lnTo>
                  <a:lnTo>
                    <a:pt x="580" y="48"/>
                  </a:lnTo>
                  <a:lnTo>
                    <a:pt x="613" y="66"/>
                  </a:lnTo>
                  <a:lnTo>
                    <a:pt x="643" y="91"/>
                  </a:lnTo>
                  <a:lnTo>
                    <a:pt x="671" y="115"/>
                  </a:lnTo>
                  <a:lnTo>
                    <a:pt x="697" y="143"/>
                  </a:lnTo>
                  <a:lnTo>
                    <a:pt x="719" y="174"/>
                  </a:lnTo>
                  <a:lnTo>
                    <a:pt x="737" y="206"/>
                  </a:lnTo>
                  <a:lnTo>
                    <a:pt x="754" y="239"/>
                  </a:lnTo>
                  <a:lnTo>
                    <a:pt x="767" y="276"/>
                  </a:lnTo>
                  <a:lnTo>
                    <a:pt x="778" y="313"/>
                  </a:lnTo>
                  <a:lnTo>
                    <a:pt x="784" y="352"/>
                  </a:lnTo>
                  <a:lnTo>
                    <a:pt x="786" y="393"/>
                  </a:lnTo>
                  <a:lnTo>
                    <a:pt x="786" y="393"/>
                  </a:lnTo>
                  <a:lnTo>
                    <a:pt x="784" y="432"/>
                  </a:lnTo>
                  <a:lnTo>
                    <a:pt x="778" y="471"/>
                  </a:lnTo>
                  <a:lnTo>
                    <a:pt x="767" y="508"/>
                  </a:lnTo>
                  <a:lnTo>
                    <a:pt x="754" y="545"/>
                  </a:lnTo>
                  <a:lnTo>
                    <a:pt x="737" y="579"/>
                  </a:lnTo>
                  <a:lnTo>
                    <a:pt x="719" y="612"/>
                  </a:lnTo>
                  <a:lnTo>
                    <a:pt x="697" y="642"/>
                  </a:lnTo>
                  <a:lnTo>
                    <a:pt x="671" y="670"/>
                  </a:lnTo>
                  <a:lnTo>
                    <a:pt x="643" y="696"/>
                  </a:lnTo>
                  <a:lnTo>
                    <a:pt x="613" y="718"/>
                  </a:lnTo>
                  <a:lnTo>
                    <a:pt x="580" y="736"/>
                  </a:lnTo>
                  <a:lnTo>
                    <a:pt x="546" y="753"/>
                  </a:lnTo>
                  <a:lnTo>
                    <a:pt x="509" y="766"/>
                  </a:lnTo>
                  <a:lnTo>
                    <a:pt x="472" y="777"/>
                  </a:lnTo>
                  <a:lnTo>
                    <a:pt x="433" y="783"/>
                  </a:lnTo>
                  <a:lnTo>
                    <a:pt x="394" y="785"/>
                  </a:lnTo>
                  <a:lnTo>
                    <a:pt x="394" y="785"/>
                  </a:lnTo>
                  <a:close/>
                  <a:moveTo>
                    <a:pt x="394" y="53"/>
                  </a:moveTo>
                  <a:lnTo>
                    <a:pt x="394" y="53"/>
                  </a:lnTo>
                  <a:lnTo>
                    <a:pt x="359" y="55"/>
                  </a:lnTo>
                  <a:lnTo>
                    <a:pt x="325" y="59"/>
                  </a:lnTo>
                  <a:lnTo>
                    <a:pt x="292" y="68"/>
                  </a:lnTo>
                  <a:lnTo>
                    <a:pt x="262" y="79"/>
                  </a:lnTo>
                  <a:lnTo>
                    <a:pt x="233" y="94"/>
                  </a:lnTo>
                  <a:lnTo>
                    <a:pt x="203" y="111"/>
                  </a:lnTo>
                  <a:lnTo>
                    <a:pt x="177" y="131"/>
                  </a:lnTo>
                  <a:lnTo>
                    <a:pt x="153" y="152"/>
                  </a:lnTo>
                  <a:lnTo>
                    <a:pt x="132" y="176"/>
                  </a:lnTo>
                  <a:lnTo>
                    <a:pt x="112" y="202"/>
                  </a:lnTo>
                  <a:lnTo>
                    <a:pt x="95" y="232"/>
                  </a:lnTo>
                  <a:lnTo>
                    <a:pt x="80" y="259"/>
                  </a:lnTo>
                  <a:lnTo>
                    <a:pt x="69" y="291"/>
                  </a:lnTo>
                  <a:lnTo>
                    <a:pt x="62" y="324"/>
                  </a:lnTo>
                  <a:lnTo>
                    <a:pt x="56" y="358"/>
                  </a:lnTo>
                  <a:lnTo>
                    <a:pt x="54" y="393"/>
                  </a:lnTo>
                  <a:lnTo>
                    <a:pt x="54" y="393"/>
                  </a:lnTo>
                  <a:lnTo>
                    <a:pt x="56" y="427"/>
                  </a:lnTo>
                  <a:lnTo>
                    <a:pt x="62" y="460"/>
                  </a:lnTo>
                  <a:lnTo>
                    <a:pt x="69" y="493"/>
                  </a:lnTo>
                  <a:lnTo>
                    <a:pt x="80" y="525"/>
                  </a:lnTo>
                  <a:lnTo>
                    <a:pt x="95" y="555"/>
                  </a:lnTo>
                  <a:lnTo>
                    <a:pt x="112" y="582"/>
                  </a:lnTo>
                  <a:lnTo>
                    <a:pt x="132" y="608"/>
                  </a:lnTo>
                  <a:lnTo>
                    <a:pt x="153" y="633"/>
                  </a:lnTo>
                  <a:lnTo>
                    <a:pt x="177" y="655"/>
                  </a:lnTo>
                  <a:lnTo>
                    <a:pt x="203" y="673"/>
                  </a:lnTo>
                  <a:lnTo>
                    <a:pt x="233" y="690"/>
                  </a:lnTo>
                  <a:lnTo>
                    <a:pt x="262" y="705"/>
                  </a:lnTo>
                  <a:lnTo>
                    <a:pt x="292" y="716"/>
                  </a:lnTo>
                  <a:lnTo>
                    <a:pt x="325" y="725"/>
                  </a:lnTo>
                  <a:lnTo>
                    <a:pt x="359" y="729"/>
                  </a:lnTo>
                  <a:lnTo>
                    <a:pt x="394" y="731"/>
                  </a:lnTo>
                  <a:lnTo>
                    <a:pt x="394" y="731"/>
                  </a:lnTo>
                  <a:lnTo>
                    <a:pt x="427" y="729"/>
                  </a:lnTo>
                  <a:lnTo>
                    <a:pt x="461" y="725"/>
                  </a:lnTo>
                  <a:lnTo>
                    <a:pt x="494" y="716"/>
                  </a:lnTo>
                  <a:lnTo>
                    <a:pt x="526" y="705"/>
                  </a:lnTo>
                  <a:lnTo>
                    <a:pt x="556" y="690"/>
                  </a:lnTo>
                  <a:lnTo>
                    <a:pt x="583" y="673"/>
                  </a:lnTo>
                  <a:lnTo>
                    <a:pt x="609" y="655"/>
                  </a:lnTo>
                  <a:lnTo>
                    <a:pt x="633" y="633"/>
                  </a:lnTo>
                  <a:lnTo>
                    <a:pt x="656" y="608"/>
                  </a:lnTo>
                  <a:lnTo>
                    <a:pt x="674" y="582"/>
                  </a:lnTo>
                  <a:lnTo>
                    <a:pt x="691" y="555"/>
                  </a:lnTo>
                  <a:lnTo>
                    <a:pt x="706" y="525"/>
                  </a:lnTo>
                  <a:lnTo>
                    <a:pt x="717" y="493"/>
                  </a:lnTo>
                  <a:lnTo>
                    <a:pt x="726" y="460"/>
                  </a:lnTo>
                  <a:lnTo>
                    <a:pt x="732" y="427"/>
                  </a:lnTo>
                  <a:lnTo>
                    <a:pt x="734" y="393"/>
                  </a:lnTo>
                  <a:lnTo>
                    <a:pt x="734" y="393"/>
                  </a:lnTo>
                  <a:lnTo>
                    <a:pt x="732" y="358"/>
                  </a:lnTo>
                  <a:lnTo>
                    <a:pt x="726" y="324"/>
                  </a:lnTo>
                  <a:lnTo>
                    <a:pt x="717" y="291"/>
                  </a:lnTo>
                  <a:lnTo>
                    <a:pt x="706" y="259"/>
                  </a:lnTo>
                  <a:lnTo>
                    <a:pt x="691" y="232"/>
                  </a:lnTo>
                  <a:lnTo>
                    <a:pt x="674" y="202"/>
                  </a:lnTo>
                  <a:lnTo>
                    <a:pt x="656" y="176"/>
                  </a:lnTo>
                  <a:lnTo>
                    <a:pt x="633" y="152"/>
                  </a:lnTo>
                  <a:lnTo>
                    <a:pt x="609" y="131"/>
                  </a:lnTo>
                  <a:lnTo>
                    <a:pt x="583" y="111"/>
                  </a:lnTo>
                  <a:lnTo>
                    <a:pt x="556" y="94"/>
                  </a:lnTo>
                  <a:lnTo>
                    <a:pt x="526" y="79"/>
                  </a:lnTo>
                  <a:lnTo>
                    <a:pt x="494" y="68"/>
                  </a:lnTo>
                  <a:lnTo>
                    <a:pt x="461" y="59"/>
                  </a:lnTo>
                  <a:lnTo>
                    <a:pt x="427" y="55"/>
                  </a:lnTo>
                  <a:lnTo>
                    <a:pt x="394" y="53"/>
                  </a:lnTo>
                  <a:lnTo>
                    <a:pt x="394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0" name="Freeform 149">
              <a:extLst>
                <a:ext uri="{FF2B5EF4-FFF2-40B4-BE49-F238E27FC236}">
                  <a16:creationId xmlns:a16="http://schemas.microsoft.com/office/drawing/2014/main" id="{61BF7B6A-8BA7-984D-8D3C-B3F11901DC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4047" y="1887508"/>
              <a:ext cx="153720" cy="132326"/>
            </a:xfrm>
            <a:custGeom>
              <a:avLst/>
              <a:gdLst>
                <a:gd name="T0" fmla="*/ 178 w 388"/>
                <a:gd name="T1" fmla="*/ 334 h 334"/>
                <a:gd name="T2" fmla="*/ 0 w 388"/>
                <a:gd name="T3" fmla="*/ 214 h 334"/>
                <a:gd name="T4" fmla="*/ 37 w 388"/>
                <a:gd name="T5" fmla="*/ 160 h 334"/>
                <a:gd name="T6" fmla="*/ 162 w 388"/>
                <a:gd name="T7" fmla="*/ 243 h 334"/>
                <a:gd name="T8" fmla="*/ 334 w 388"/>
                <a:gd name="T9" fmla="*/ 0 h 334"/>
                <a:gd name="T10" fmla="*/ 388 w 388"/>
                <a:gd name="T11" fmla="*/ 37 h 334"/>
                <a:gd name="T12" fmla="*/ 178 w 388"/>
                <a:gd name="T13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8" h="334">
                  <a:moveTo>
                    <a:pt x="178" y="334"/>
                  </a:moveTo>
                  <a:lnTo>
                    <a:pt x="0" y="214"/>
                  </a:lnTo>
                  <a:lnTo>
                    <a:pt x="37" y="160"/>
                  </a:lnTo>
                  <a:lnTo>
                    <a:pt x="162" y="243"/>
                  </a:lnTo>
                  <a:lnTo>
                    <a:pt x="334" y="0"/>
                  </a:lnTo>
                  <a:lnTo>
                    <a:pt x="388" y="37"/>
                  </a:lnTo>
                  <a:lnTo>
                    <a:pt x="178" y="3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6023BA-03F9-194A-B042-1890FD04D43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TUI Group | CTO  - Pieter Jordaan  | DOES Keynote|  2021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7451A3CA-A076-ED4E-855D-86E0847A5FA6}"/>
              </a:ext>
            </a:extLst>
          </p:cNvPr>
          <p:cNvSpPr txBox="1"/>
          <p:nvPr/>
        </p:nvSpPr>
        <p:spPr>
          <a:xfrm>
            <a:off x="2444669" y="5362062"/>
            <a:ext cx="6028638" cy="501676"/>
          </a:xfrm>
          <a:prstGeom prst="rect">
            <a:avLst/>
          </a:prstGeom>
          <a:solidFill>
            <a:schemeClr val="bg1">
              <a:alpha val="72090"/>
            </a:schemeClr>
          </a:solidFill>
        </p:spPr>
        <p:txBody>
          <a:bodyPr wrap="none" rtlCol="0">
            <a:spAutoFit/>
          </a:bodyPr>
          <a:lstStyle/>
          <a:p>
            <a:pPr algn="l"/>
            <a:r>
              <a:rPr lang="en-US" sz="2800" dirty="0"/>
              <a:t>Migrated a business critical system first</a:t>
            </a:r>
          </a:p>
        </p:txBody>
      </p:sp>
    </p:spTree>
    <p:extLst>
      <p:ext uri="{BB962C8B-B14F-4D97-AF65-F5344CB8AC3E}">
        <p14:creationId xmlns:p14="http://schemas.microsoft.com/office/powerpoint/2010/main" val="1504913103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outdoor, shore&#10;&#10;Description automatically generated">
            <a:extLst>
              <a:ext uri="{FF2B5EF4-FFF2-40B4-BE49-F238E27FC236}">
                <a16:creationId xmlns:a16="http://schemas.microsoft.com/office/drawing/2014/main" id="{FA94E774-C447-6E40-BE29-AD783043A17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1522075" cy="64801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4419" y="289389"/>
            <a:ext cx="10512425" cy="755630"/>
          </a:xfrm>
        </p:spPr>
        <p:txBody>
          <a:bodyPr/>
          <a:lstStyle/>
          <a:p>
            <a:r>
              <a:rPr lang="en-GB" sz="2799" b="1" dirty="0">
                <a:solidFill>
                  <a:schemeClr val="bg1"/>
                </a:solidFill>
              </a:rPr>
              <a:t>Leadership Transformation Requirements</a:t>
            </a:r>
            <a:endParaRPr lang="de-DE" sz="1799" dirty="0">
              <a:solidFill>
                <a:schemeClr val="bg1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TUI Group | CTO  - Pieter Jordaan  | DOES Keynote|  2021</a:t>
            </a:r>
            <a:endParaRPr lang="de-DE" noProof="0" dirty="0"/>
          </a:p>
        </p:txBody>
      </p:sp>
      <p:grpSp>
        <p:nvGrpSpPr>
          <p:cNvPr id="15" name="Gruppieren 14"/>
          <p:cNvGrpSpPr/>
          <p:nvPr/>
        </p:nvGrpSpPr>
        <p:grpSpPr>
          <a:xfrm>
            <a:off x="254602" y="5760571"/>
            <a:ext cx="11012871" cy="467823"/>
            <a:chOff x="251904" y="5763394"/>
            <a:chExt cx="11018267" cy="468052"/>
          </a:xfrm>
        </p:grpSpPr>
        <p:grpSp>
          <p:nvGrpSpPr>
            <p:cNvPr id="12" name="Gruppieren 11"/>
            <p:cNvGrpSpPr/>
            <p:nvPr/>
          </p:nvGrpSpPr>
          <p:grpSpPr>
            <a:xfrm>
              <a:off x="251904" y="5763394"/>
              <a:ext cx="11018267" cy="468052"/>
              <a:chOff x="251904" y="5763394"/>
              <a:chExt cx="11018267" cy="468052"/>
            </a:xfrm>
          </p:grpSpPr>
          <p:sp>
            <p:nvSpPr>
              <p:cNvPr id="9" name="Rechteck 8"/>
              <p:cNvSpPr/>
              <p:nvPr/>
            </p:nvSpPr>
            <p:spPr bwMode="auto">
              <a:xfrm>
                <a:off x="251904" y="5763394"/>
                <a:ext cx="11018267" cy="468052"/>
              </a:xfrm>
              <a:prstGeom prst="rect">
                <a:avLst/>
              </a:prstGeom>
              <a:solidFill>
                <a:schemeClr val="accent3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35982" tIns="0" rIns="35982" bIns="0" rtlCol="0" anchor="ctr"/>
              <a:lstStyle/>
              <a:p>
                <a:pPr algn="ctr">
                  <a:lnSpc>
                    <a:spcPct val="80000"/>
                  </a:lnSpc>
                  <a:buClrTx/>
                  <a:buSzTx/>
                </a:pPr>
                <a:endParaRPr lang="de-DE" sz="1399" b="1" kern="0" dirty="0">
                  <a:latin typeface="TUIType"/>
                </a:endParaRPr>
              </a:p>
            </p:txBody>
          </p:sp>
          <p:pic>
            <p:nvPicPr>
              <p:cNvPr id="10" name="Grafik 9"/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814410" y="5861902"/>
                <a:ext cx="338572" cy="271037"/>
              </a:xfrm>
              <a:prstGeom prst="rect">
                <a:avLst/>
              </a:prstGeom>
            </p:spPr>
          </p:pic>
        </p:grpSp>
        <p:sp>
          <p:nvSpPr>
            <p:cNvPr id="49" name="Fußzeilenplatzhalter 2"/>
            <p:cNvSpPr txBox="1">
              <a:spLocks/>
            </p:cNvSpPr>
            <p:nvPr/>
          </p:nvSpPr>
          <p:spPr bwMode="gray">
            <a:xfrm>
              <a:off x="372703" y="5977979"/>
              <a:ext cx="8412670" cy="1361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l" rtl="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sz="800" kern="1200">
                  <a:solidFill>
                    <a:schemeClr val="bg1"/>
                  </a:solidFill>
                  <a:latin typeface="TUIType" pitchFamily="34" charset="0"/>
                  <a:ea typeface="+mn-ea"/>
                  <a:cs typeface="+mn-cs"/>
                </a:defRPr>
              </a:lvl1pPr>
              <a:lvl2pPr marL="457200" algn="ctr" rtl="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itchFamily="2" charset="2"/>
                <a:defRPr sz="2400" kern="1200">
                  <a:solidFill>
                    <a:schemeClr val="tx1"/>
                  </a:solidFill>
                  <a:latin typeface="TUIType" pitchFamily="34" charset="0"/>
                  <a:ea typeface="+mn-ea"/>
                  <a:cs typeface="+mn-cs"/>
                </a:defRPr>
              </a:lvl2pPr>
              <a:lvl3pPr marL="914400" algn="ctr" rtl="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itchFamily="2" charset="2"/>
                <a:defRPr sz="2400" kern="1200">
                  <a:solidFill>
                    <a:schemeClr val="tx1"/>
                  </a:solidFill>
                  <a:latin typeface="TUIType" pitchFamily="34" charset="0"/>
                  <a:ea typeface="+mn-ea"/>
                  <a:cs typeface="+mn-cs"/>
                </a:defRPr>
              </a:lvl3pPr>
              <a:lvl4pPr marL="1371600" algn="ctr" rtl="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itchFamily="2" charset="2"/>
                <a:defRPr sz="2400" kern="1200">
                  <a:solidFill>
                    <a:schemeClr val="tx1"/>
                  </a:solidFill>
                  <a:latin typeface="TUIType" pitchFamily="34" charset="0"/>
                  <a:ea typeface="+mn-ea"/>
                  <a:cs typeface="+mn-cs"/>
                </a:defRPr>
              </a:lvl4pPr>
              <a:lvl5pPr marL="1828800" algn="ctr" rtl="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itchFamily="2" charset="2"/>
                <a:defRPr sz="2400" kern="1200">
                  <a:solidFill>
                    <a:schemeClr val="tx1"/>
                  </a:solidFill>
                  <a:latin typeface="TUIType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UIType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UIType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UIType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UIType" pitchFamily="34" charset="0"/>
                  <a:ea typeface="+mn-ea"/>
                  <a:cs typeface="+mn-cs"/>
                </a:defRPr>
              </a:lvl9pPr>
            </a:lstStyle>
            <a:p>
              <a:r>
                <a:rPr lang="en-US" dirty="0"/>
                <a:t>© TUI Group 2019</a:t>
              </a:r>
              <a:endParaRPr lang="de-DE" dirty="0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0952D670-0648-BB49-B7BB-5DF303BD0E53}"/>
              </a:ext>
            </a:extLst>
          </p:cNvPr>
          <p:cNvSpPr txBox="1"/>
          <p:nvPr/>
        </p:nvSpPr>
        <p:spPr>
          <a:xfrm>
            <a:off x="204419" y="1231412"/>
            <a:ext cx="5031983" cy="3450175"/>
          </a:xfrm>
          <a:prstGeom prst="rect">
            <a:avLst/>
          </a:prstGeom>
          <a:solidFill>
            <a:schemeClr val="bg1">
              <a:alpha val="54895"/>
            </a:schemeClr>
          </a:solidFill>
        </p:spPr>
        <p:txBody>
          <a:bodyPr wrap="square" rtlCol="0">
            <a:spAutoFit/>
          </a:bodyPr>
          <a:lstStyle/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Wide - all ITIL capabilities</a:t>
            </a:r>
          </a:p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General management by KPI</a:t>
            </a:r>
          </a:p>
          <a:p>
            <a:pPr marL="800100" lvl="1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(Revenue /Cost, Resources, Uptime)</a:t>
            </a:r>
          </a:p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Manage risk (avoid failure</a:t>
            </a:r>
            <a:r>
              <a:rPr lang="en-US" sz="1800" dirty="0"/>
              <a:t>)</a:t>
            </a:r>
          </a:p>
          <a:p>
            <a:pPr marL="342900" indent="-342900" algn="l">
              <a:buFont typeface="+mj-lt"/>
              <a:buAutoNum type="arabicPeriod"/>
            </a:pPr>
            <a:endParaRPr lang="en-US" sz="1800" dirty="0"/>
          </a:p>
          <a:p>
            <a:pPr marL="342900" indent="-342900" algn="l">
              <a:buFont typeface="+mj-lt"/>
              <a:buAutoNum type="arabicPeriod"/>
            </a:pPr>
            <a:endParaRPr lang="en-US" sz="18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4A9FEFD-D341-4B47-8BFA-2C07C98516C5}"/>
              </a:ext>
            </a:extLst>
          </p:cNvPr>
          <p:cNvSpPr txBox="1"/>
          <p:nvPr/>
        </p:nvSpPr>
        <p:spPr>
          <a:xfrm>
            <a:off x="5977061" y="1259499"/>
            <a:ext cx="5545013" cy="3450175"/>
          </a:xfrm>
          <a:prstGeom prst="rect">
            <a:avLst/>
          </a:prstGeom>
          <a:solidFill>
            <a:schemeClr val="bg1">
              <a:alpha val="61570"/>
            </a:schemeClr>
          </a:solidFill>
        </p:spPr>
        <p:txBody>
          <a:bodyPr wrap="square" rtlCol="0">
            <a:spAutoFit/>
          </a:bodyPr>
          <a:lstStyle/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Deep - own single domain </a:t>
            </a:r>
            <a:r>
              <a:rPr lang="en-US" dirty="0" err="1"/>
              <a:t>i.e</a:t>
            </a:r>
            <a:r>
              <a:rPr lang="en-US" dirty="0"/>
              <a:t> Sales</a:t>
            </a:r>
          </a:p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Technology leadership &amp; transformation</a:t>
            </a:r>
          </a:p>
          <a:p>
            <a:pPr marL="800100" lvl="1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(Cloud, DevOps, and Flow Maturity)</a:t>
            </a:r>
          </a:p>
          <a:p>
            <a:pPr marL="342900" indent="-342900"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Manage creative process (fail fast)</a:t>
            </a:r>
          </a:p>
          <a:p>
            <a:pPr marL="342900" indent="-342900" algn="l">
              <a:buFont typeface="+mj-lt"/>
              <a:buAutoNum type="arabicPeriod"/>
            </a:pPr>
            <a:endParaRPr lang="en-US" sz="1800" dirty="0"/>
          </a:p>
          <a:p>
            <a:pPr marL="342900" indent="-342900" algn="l">
              <a:buFont typeface="+mj-lt"/>
              <a:buAutoNum type="arabicPeriod"/>
            </a:pPr>
            <a:endParaRPr lang="en-US" sz="18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33F217-93D4-834F-A9D6-0E5E8253489B}"/>
              </a:ext>
            </a:extLst>
          </p:cNvPr>
          <p:cNvSpPr txBox="1"/>
          <p:nvPr/>
        </p:nvSpPr>
        <p:spPr>
          <a:xfrm>
            <a:off x="1944613" y="5335586"/>
            <a:ext cx="7833789" cy="384721"/>
          </a:xfrm>
          <a:prstGeom prst="rect">
            <a:avLst/>
          </a:prstGeom>
          <a:solidFill>
            <a:schemeClr val="bg1">
              <a:alpha val="81516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000" dirty="0"/>
              <a:t>Leadership buy-in is the single biggest accelerator in your transformation</a:t>
            </a:r>
          </a:p>
        </p:txBody>
      </p:sp>
    </p:spTree>
    <p:extLst>
      <p:ext uri="{BB962C8B-B14F-4D97-AF65-F5344CB8AC3E}">
        <p14:creationId xmlns:p14="http://schemas.microsoft.com/office/powerpoint/2010/main" val="2073909722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" name="Picture 2" descr="H:\my documents\_important\PowerPoint templates\d_powerpoint_cover_4x3\d_powerpoint_cover_4x3\d_powerpoint_cover_4x3\d_powerpoint_cover_4x3\d_powerpoint_4x3_image2.jpg">
            <a:extLst>
              <a:ext uri="{FF2B5EF4-FFF2-40B4-BE49-F238E27FC236}">
                <a16:creationId xmlns:a16="http://schemas.microsoft.com/office/drawing/2014/main" id="{38A926DC-675F-8C41-921E-1DE20654A0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0079"/>
            <a:ext cx="11522075" cy="6480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E69B1E5-1495-1146-AD77-73888308AA32}"/>
              </a:ext>
            </a:extLst>
          </p:cNvPr>
          <p:cNvSpPr txBox="1"/>
          <p:nvPr/>
        </p:nvSpPr>
        <p:spPr>
          <a:xfrm>
            <a:off x="210365" y="224302"/>
            <a:ext cx="5642250" cy="6186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Success Factors and Patterns</a:t>
            </a:r>
          </a:p>
        </p:txBody>
      </p:sp>
      <p:sp>
        <p:nvSpPr>
          <p:cNvPr id="125" name="Rechteck 14">
            <a:extLst>
              <a:ext uri="{FF2B5EF4-FFF2-40B4-BE49-F238E27FC236}">
                <a16:creationId xmlns:a16="http://schemas.microsoft.com/office/drawing/2014/main" id="{59885BE8-4AF2-7444-9D0F-9D36B914C2C6}"/>
              </a:ext>
            </a:extLst>
          </p:cNvPr>
          <p:cNvSpPr/>
          <p:nvPr/>
        </p:nvSpPr>
        <p:spPr bwMode="gray">
          <a:xfrm>
            <a:off x="210365" y="829832"/>
            <a:ext cx="10015168" cy="5456451"/>
          </a:xfrm>
          <a:prstGeom prst="rect">
            <a:avLst/>
          </a:prstGeom>
          <a:solidFill>
            <a:schemeClr val="bg1">
              <a:alpha val="82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47" tIns="107947" rIns="107947" bIns="719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>
              <a:lnSpc>
                <a:spcPct val="15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b="1" kern="0" dirty="0"/>
              <a:t>Leadership</a:t>
            </a:r>
            <a:r>
              <a:rPr lang="de-DE" sz="2000" kern="0" dirty="0"/>
              <a:t> – </a:t>
            </a:r>
            <a:r>
              <a:rPr lang="de-DE" sz="2000" kern="0" dirty="0" err="1"/>
              <a:t>Deep</a:t>
            </a:r>
            <a:r>
              <a:rPr lang="de-DE" sz="2000" kern="0" dirty="0"/>
              <a:t> Technical </a:t>
            </a:r>
            <a:r>
              <a:rPr lang="de-DE" sz="2000" kern="0" dirty="0" err="1"/>
              <a:t>Leaders</a:t>
            </a:r>
            <a:r>
              <a:rPr lang="de-DE" sz="2000" kern="0" dirty="0"/>
              <a:t> </a:t>
            </a:r>
            <a:r>
              <a:rPr lang="de-DE" sz="2000" kern="0" dirty="0" err="1"/>
              <a:t>vs</a:t>
            </a:r>
            <a:r>
              <a:rPr lang="de-DE" sz="2000" kern="0" dirty="0"/>
              <a:t> Wide General Management </a:t>
            </a:r>
            <a:endParaRPr lang="de-DE" sz="2000" b="1" kern="0" dirty="0">
              <a:latin typeface="+mn-lt"/>
            </a:endParaRPr>
          </a:p>
          <a:p>
            <a:pPr marL="285750" lvl="0" indent="-285750" algn="l">
              <a:lnSpc>
                <a:spcPct val="15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b="1" kern="0" dirty="0">
                <a:latin typeface="+mn-lt"/>
              </a:rPr>
              <a:t>Cloud </a:t>
            </a:r>
            <a:r>
              <a:rPr lang="de-DE" sz="2000" b="1" kern="0" dirty="0" err="1">
                <a:latin typeface="+mn-lt"/>
              </a:rPr>
              <a:t>is</a:t>
            </a:r>
            <a:r>
              <a:rPr lang="de-DE" sz="2000" b="1" kern="0" dirty="0">
                <a:latin typeface="+mn-lt"/>
              </a:rPr>
              <a:t> </a:t>
            </a:r>
            <a:r>
              <a:rPr lang="de-DE" sz="2000" b="1" kern="0" dirty="0" err="1">
                <a:latin typeface="+mn-lt"/>
              </a:rPr>
              <a:t>oxygen</a:t>
            </a:r>
            <a:r>
              <a:rPr lang="de-DE" sz="2000" kern="0" dirty="0">
                <a:latin typeface="+mn-lt"/>
              </a:rPr>
              <a:t> – Cloud </a:t>
            </a:r>
            <a:r>
              <a:rPr lang="de-DE" sz="2000" kern="0" dirty="0" err="1">
                <a:latin typeface="+mn-lt"/>
              </a:rPr>
              <a:t>migration</a:t>
            </a:r>
            <a:r>
              <a:rPr lang="de-DE" sz="2000" kern="0" dirty="0">
                <a:latin typeface="+mn-lt"/>
              </a:rPr>
              <a:t> </a:t>
            </a:r>
            <a:r>
              <a:rPr lang="de-DE" sz="2000" kern="0" dirty="0" err="1">
                <a:latin typeface="+mn-lt"/>
              </a:rPr>
              <a:t>strategy</a:t>
            </a:r>
            <a:r>
              <a:rPr lang="de-DE" sz="2000" kern="0" dirty="0">
                <a:latin typeface="+mn-lt"/>
              </a:rPr>
              <a:t> must </a:t>
            </a:r>
            <a:r>
              <a:rPr lang="de-DE" sz="2000" kern="0" dirty="0" err="1">
                <a:latin typeface="+mn-lt"/>
              </a:rPr>
              <a:t>match</a:t>
            </a:r>
            <a:r>
              <a:rPr lang="de-DE" sz="2000" kern="0" dirty="0">
                <a:latin typeface="+mn-lt"/>
              </a:rPr>
              <a:t> </a:t>
            </a:r>
            <a:r>
              <a:rPr lang="de-DE" sz="2000" kern="0" dirty="0" err="1">
                <a:latin typeface="+mn-lt"/>
              </a:rPr>
              <a:t>transformation‘s</a:t>
            </a:r>
            <a:r>
              <a:rPr lang="de-DE" sz="2000" kern="0" dirty="0">
                <a:latin typeface="+mn-lt"/>
              </a:rPr>
              <a:t> </a:t>
            </a:r>
            <a:r>
              <a:rPr lang="de-DE" sz="2000" kern="0" dirty="0" err="1">
                <a:latin typeface="+mn-lt"/>
              </a:rPr>
              <a:t>size</a:t>
            </a:r>
            <a:endParaRPr lang="de-DE" sz="2000" b="1" kern="0" dirty="0">
              <a:latin typeface="+mn-lt"/>
            </a:endParaRPr>
          </a:p>
          <a:p>
            <a:pPr marL="285750" lvl="0" indent="-285750" algn="l">
              <a:lnSpc>
                <a:spcPct val="15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b="1" kern="0" dirty="0">
                <a:latin typeface="+mn-lt"/>
              </a:rPr>
              <a:t>Business Migration follow IT </a:t>
            </a:r>
            <a:r>
              <a:rPr lang="de-DE" sz="2000" b="1" kern="0" dirty="0" err="1">
                <a:latin typeface="+mn-lt"/>
              </a:rPr>
              <a:t>Consolidation</a:t>
            </a:r>
            <a:r>
              <a:rPr lang="de-DE" sz="2000" kern="0" dirty="0">
                <a:latin typeface="+mn-lt"/>
              </a:rPr>
              <a:t> – Business </a:t>
            </a:r>
            <a:r>
              <a:rPr lang="de-DE" sz="2000" kern="0" dirty="0" err="1">
                <a:latin typeface="+mn-lt"/>
              </a:rPr>
              <a:t>is</a:t>
            </a:r>
            <a:r>
              <a:rPr lang="de-DE" sz="2000" kern="0" dirty="0">
                <a:latin typeface="+mn-lt"/>
              </a:rPr>
              <a:t> </a:t>
            </a:r>
            <a:r>
              <a:rPr lang="de-DE" sz="2000" kern="0" dirty="0" err="1">
                <a:latin typeface="+mn-lt"/>
              </a:rPr>
              <a:t>organised</a:t>
            </a:r>
            <a:r>
              <a:rPr lang="de-DE" sz="2000" kern="0" dirty="0">
                <a:latin typeface="+mn-lt"/>
              </a:rPr>
              <a:t> </a:t>
            </a:r>
            <a:r>
              <a:rPr lang="de-DE" sz="2000" kern="0" dirty="0" err="1">
                <a:latin typeface="+mn-lt"/>
              </a:rPr>
              <a:t>aournd</a:t>
            </a:r>
            <a:r>
              <a:rPr lang="de-DE" sz="2000" kern="0" dirty="0">
                <a:latin typeface="+mn-lt"/>
              </a:rPr>
              <a:t> IT </a:t>
            </a:r>
            <a:r>
              <a:rPr lang="de-DE" sz="2000" kern="0" dirty="0" err="1">
                <a:latin typeface="+mn-lt"/>
              </a:rPr>
              <a:t>systems</a:t>
            </a:r>
            <a:endParaRPr lang="de-DE" sz="2000" b="1" kern="0" dirty="0">
              <a:latin typeface="+mn-lt"/>
            </a:endParaRPr>
          </a:p>
          <a:p>
            <a:pPr marL="285750" lvl="0" indent="-285750" algn="l">
              <a:lnSpc>
                <a:spcPct val="15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b="1" kern="0" dirty="0" err="1">
                <a:latin typeface="+mn-lt"/>
              </a:rPr>
              <a:t>Shift</a:t>
            </a:r>
            <a:r>
              <a:rPr lang="de-DE" sz="2000" b="1" kern="0" dirty="0">
                <a:latin typeface="+mn-lt"/>
              </a:rPr>
              <a:t> </a:t>
            </a:r>
            <a:r>
              <a:rPr lang="de-DE" sz="2000" b="1" kern="0" dirty="0" err="1">
                <a:latin typeface="+mn-lt"/>
              </a:rPr>
              <a:t>to</a:t>
            </a:r>
            <a:r>
              <a:rPr lang="de-DE" sz="2000" b="1" kern="0" dirty="0">
                <a:latin typeface="+mn-lt"/>
              </a:rPr>
              <a:t> </a:t>
            </a:r>
            <a:r>
              <a:rPr lang="de-DE" sz="2000" b="1" kern="0" dirty="0" err="1">
                <a:latin typeface="+mn-lt"/>
              </a:rPr>
              <a:t>Product</a:t>
            </a:r>
            <a:r>
              <a:rPr lang="de-DE" sz="2000" b="1" kern="0" dirty="0">
                <a:latin typeface="+mn-lt"/>
              </a:rPr>
              <a:t> &amp; Cloud at </a:t>
            </a:r>
            <a:r>
              <a:rPr lang="de-DE" sz="2000" b="1" kern="0" dirty="0" err="1">
                <a:latin typeface="+mn-lt"/>
              </a:rPr>
              <a:t>the</a:t>
            </a:r>
            <a:r>
              <a:rPr lang="de-DE" sz="2000" b="1" kern="0" dirty="0">
                <a:latin typeface="+mn-lt"/>
              </a:rPr>
              <a:t> same time</a:t>
            </a:r>
          </a:p>
          <a:p>
            <a:pPr marL="742950" lvl="1" indent="-285750" algn="l">
              <a:lnSpc>
                <a:spcPct val="15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kern="0" dirty="0" err="1">
                <a:latin typeface="+mn-lt"/>
              </a:rPr>
              <a:t>Product</a:t>
            </a:r>
            <a:r>
              <a:rPr lang="de-DE" sz="2000" kern="0" dirty="0">
                <a:latin typeface="+mn-lt"/>
              </a:rPr>
              <a:t> </a:t>
            </a:r>
            <a:r>
              <a:rPr lang="de-DE" sz="2000" kern="0" dirty="0">
                <a:latin typeface="+mn-lt"/>
                <a:sym typeface="Wingdings" pitchFamily="2" charset="2"/>
              </a:rPr>
              <a:t></a:t>
            </a:r>
            <a:r>
              <a:rPr lang="de-DE" sz="2000" kern="0" dirty="0">
                <a:latin typeface="+mn-lt"/>
              </a:rPr>
              <a:t> Agile</a:t>
            </a:r>
          </a:p>
          <a:p>
            <a:pPr marL="742950" lvl="1" indent="-285750" algn="l">
              <a:lnSpc>
                <a:spcPct val="15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kern="0" dirty="0">
                <a:latin typeface="+mn-lt"/>
              </a:rPr>
              <a:t>Cloud </a:t>
            </a:r>
            <a:r>
              <a:rPr lang="de-DE" sz="2000" kern="0" dirty="0">
                <a:latin typeface="+mn-lt"/>
                <a:sym typeface="Wingdings" pitchFamily="2" charset="2"/>
              </a:rPr>
              <a:t></a:t>
            </a:r>
            <a:r>
              <a:rPr lang="de-DE" sz="2000" kern="0" dirty="0">
                <a:latin typeface="+mn-lt"/>
              </a:rPr>
              <a:t> </a:t>
            </a:r>
            <a:r>
              <a:rPr lang="de-DE" sz="2000" kern="0" dirty="0" err="1">
                <a:latin typeface="+mn-lt"/>
              </a:rPr>
              <a:t>DevOps</a:t>
            </a:r>
            <a:endParaRPr lang="de-DE" sz="2000" kern="0" dirty="0">
              <a:latin typeface="+mn-lt"/>
            </a:endParaRPr>
          </a:p>
          <a:p>
            <a:pPr marL="285750" indent="-285750" algn="l">
              <a:lnSpc>
                <a:spcPct val="15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b="1" kern="0" dirty="0">
                <a:latin typeface="+mn-lt"/>
              </a:rPr>
              <a:t>Change </a:t>
            </a:r>
            <a:r>
              <a:rPr lang="de-DE" sz="2000" b="1" kern="0" dirty="0" err="1">
                <a:latin typeface="+mn-lt"/>
              </a:rPr>
              <a:t>your</a:t>
            </a:r>
            <a:r>
              <a:rPr lang="de-DE" sz="2000" b="1" kern="0" dirty="0">
                <a:latin typeface="+mn-lt"/>
              </a:rPr>
              <a:t> </a:t>
            </a:r>
            <a:r>
              <a:rPr lang="de-DE" sz="2000" b="1" kern="0" dirty="0" err="1">
                <a:latin typeface="+mn-lt"/>
              </a:rPr>
              <a:t>view</a:t>
            </a:r>
            <a:r>
              <a:rPr lang="de-DE" sz="2000" b="1" kern="0" dirty="0">
                <a:latin typeface="+mn-lt"/>
              </a:rPr>
              <a:t> </a:t>
            </a:r>
            <a:r>
              <a:rPr lang="de-DE" sz="2000" b="1" kern="0" dirty="0" err="1">
                <a:latin typeface="+mn-lt"/>
              </a:rPr>
              <a:t>of</a:t>
            </a:r>
            <a:r>
              <a:rPr lang="de-DE" sz="2000" b="1" kern="0" dirty="0">
                <a:latin typeface="+mn-lt"/>
              </a:rPr>
              <a:t> ‘</a:t>
            </a:r>
            <a:r>
              <a:rPr lang="de-DE" sz="2000" b="1" kern="0" dirty="0" err="1">
                <a:latin typeface="+mn-lt"/>
              </a:rPr>
              <a:t>Risk</a:t>
            </a:r>
            <a:r>
              <a:rPr lang="de-DE" sz="2000" b="1" kern="0" dirty="0">
                <a:latin typeface="+mn-lt"/>
              </a:rPr>
              <a:t>‘ –</a:t>
            </a:r>
            <a:r>
              <a:rPr lang="de-DE" sz="2000" kern="0" dirty="0">
                <a:latin typeface="+mn-lt"/>
              </a:rPr>
              <a:t> Manage </a:t>
            </a:r>
            <a:r>
              <a:rPr lang="de-DE" sz="2000" b="1" kern="0" dirty="0">
                <a:latin typeface="+mn-lt"/>
              </a:rPr>
              <a:t>Creative </a:t>
            </a:r>
            <a:r>
              <a:rPr lang="de-DE" sz="2000" b="1" kern="0" dirty="0" err="1">
                <a:latin typeface="+mn-lt"/>
              </a:rPr>
              <a:t>process</a:t>
            </a:r>
            <a:r>
              <a:rPr lang="de-DE" sz="2000" kern="0" dirty="0">
                <a:latin typeface="+mn-lt"/>
              </a:rPr>
              <a:t> </a:t>
            </a:r>
            <a:r>
              <a:rPr lang="de-DE" sz="2000" kern="0" dirty="0" err="1">
                <a:latin typeface="+mn-lt"/>
              </a:rPr>
              <a:t>instead</a:t>
            </a:r>
            <a:r>
              <a:rPr lang="de-DE" sz="2000" kern="0" dirty="0">
                <a:latin typeface="+mn-lt"/>
              </a:rPr>
              <a:t> </a:t>
            </a:r>
            <a:r>
              <a:rPr lang="de-DE" sz="2000" kern="0" dirty="0" err="1">
                <a:latin typeface="+mn-lt"/>
              </a:rPr>
              <a:t>of</a:t>
            </a:r>
            <a:r>
              <a:rPr lang="de-DE" sz="2000" kern="0" dirty="0">
                <a:latin typeface="+mn-lt"/>
              </a:rPr>
              <a:t> </a:t>
            </a:r>
            <a:r>
              <a:rPr lang="de-DE" sz="2000" kern="0" dirty="0" err="1">
                <a:latin typeface="+mn-lt"/>
              </a:rPr>
              <a:t>managing</a:t>
            </a:r>
            <a:r>
              <a:rPr lang="de-DE" sz="2000" kern="0" dirty="0">
                <a:latin typeface="+mn-lt"/>
              </a:rPr>
              <a:t> </a:t>
            </a:r>
            <a:r>
              <a:rPr lang="de-DE" sz="2000" b="1" kern="0" dirty="0" err="1">
                <a:latin typeface="+mn-lt"/>
              </a:rPr>
              <a:t>Risk</a:t>
            </a:r>
            <a:endParaRPr lang="de-DE" sz="2000" b="1" kern="0" dirty="0">
              <a:latin typeface="+mn-lt"/>
            </a:endParaRPr>
          </a:p>
          <a:p>
            <a:pPr marL="285750" indent="-285750" algn="l">
              <a:lnSpc>
                <a:spcPct val="15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b="1" kern="0" dirty="0">
                <a:latin typeface="+mn-lt"/>
              </a:rPr>
              <a:t>Day 1 </a:t>
            </a:r>
            <a:r>
              <a:rPr lang="de-DE" sz="2000" b="1" kern="0" dirty="0" err="1">
                <a:latin typeface="+mn-lt"/>
              </a:rPr>
              <a:t>mentality</a:t>
            </a:r>
            <a:endParaRPr lang="de-DE" sz="2000" b="1" kern="0" dirty="0">
              <a:latin typeface="+mn-lt"/>
            </a:endParaRPr>
          </a:p>
          <a:p>
            <a:pPr marL="742950" lvl="1" indent="-285750" algn="l">
              <a:lnSpc>
                <a:spcPct val="15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kern="0" dirty="0" err="1">
                <a:latin typeface="+mn-lt"/>
              </a:rPr>
              <a:t>Don‘t</a:t>
            </a:r>
            <a:r>
              <a:rPr lang="de-DE" sz="2000" kern="0" dirty="0">
                <a:latin typeface="+mn-lt"/>
              </a:rPr>
              <a:t> </a:t>
            </a:r>
            <a:r>
              <a:rPr lang="de-DE" sz="2000" kern="0" dirty="0" err="1">
                <a:latin typeface="+mn-lt"/>
              </a:rPr>
              <a:t>solve</a:t>
            </a:r>
            <a:r>
              <a:rPr lang="de-DE" sz="2000" kern="0" dirty="0">
                <a:latin typeface="+mn-lt"/>
              </a:rPr>
              <a:t> a </a:t>
            </a:r>
            <a:r>
              <a:rPr lang="de-DE" sz="2000" kern="0" dirty="0" err="1">
                <a:latin typeface="+mn-lt"/>
              </a:rPr>
              <a:t>problem</a:t>
            </a:r>
            <a:r>
              <a:rPr lang="de-DE" sz="2000" kern="0" dirty="0">
                <a:latin typeface="+mn-lt"/>
              </a:rPr>
              <a:t> </a:t>
            </a:r>
            <a:r>
              <a:rPr lang="de-DE" sz="2000" kern="0" dirty="0" err="1">
                <a:latin typeface="+mn-lt"/>
              </a:rPr>
              <a:t>you</a:t>
            </a:r>
            <a:r>
              <a:rPr lang="de-DE" sz="2000" kern="0" dirty="0">
                <a:latin typeface="+mn-lt"/>
              </a:rPr>
              <a:t> </a:t>
            </a:r>
            <a:r>
              <a:rPr lang="de-DE" sz="2000" kern="0" dirty="0" err="1">
                <a:latin typeface="+mn-lt"/>
              </a:rPr>
              <a:t>are</a:t>
            </a:r>
            <a:r>
              <a:rPr lang="de-DE" sz="2000" kern="0" dirty="0">
                <a:latin typeface="+mn-lt"/>
              </a:rPr>
              <a:t> not </a:t>
            </a:r>
            <a:r>
              <a:rPr lang="de-DE" sz="2000" kern="0" dirty="0" err="1">
                <a:latin typeface="+mn-lt"/>
              </a:rPr>
              <a:t>yet</a:t>
            </a:r>
            <a:r>
              <a:rPr lang="de-DE" sz="2000" kern="0" dirty="0">
                <a:latin typeface="+mn-lt"/>
              </a:rPr>
              <a:t> </a:t>
            </a:r>
            <a:r>
              <a:rPr lang="de-DE" sz="2000" kern="0" dirty="0" err="1">
                <a:latin typeface="+mn-lt"/>
              </a:rPr>
              <a:t>facing</a:t>
            </a:r>
            <a:r>
              <a:rPr lang="de-DE" sz="2000" kern="0" dirty="0">
                <a:latin typeface="+mn-lt"/>
              </a:rPr>
              <a:t>. Move fast.</a:t>
            </a:r>
          </a:p>
          <a:p>
            <a:pPr marL="742950" lvl="1" indent="-285750" algn="l">
              <a:lnSpc>
                <a:spcPct val="15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kern="0" dirty="0"/>
              <a:t>Global </a:t>
            </a:r>
            <a:r>
              <a:rPr lang="de-DE" sz="2000" kern="0" dirty="0" err="1"/>
              <a:t>Increments</a:t>
            </a:r>
            <a:r>
              <a:rPr lang="de-DE" sz="2000" kern="0" dirty="0"/>
              <a:t> </a:t>
            </a:r>
            <a:r>
              <a:rPr lang="de-DE" sz="2000" kern="0" dirty="0" err="1"/>
              <a:t>and</a:t>
            </a:r>
            <a:r>
              <a:rPr lang="de-DE" sz="2000" kern="0" dirty="0"/>
              <a:t> Demo Days.</a:t>
            </a:r>
            <a:endParaRPr lang="de-DE" sz="2000" kern="0" dirty="0">
              <a:latin typeface="+mn-lt"/>
            </a:endParaRPr>
          </a:p>
          <a:p>
            <a:pPr marL="742950" lvl="1" indent="-285750" algn="l">
              <a:lnSpc>
                <a:spcPct val="15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kern="0" dirty="0" err="1">
                <a:latin typeface="+mn-lt"/>
              </a:rPr>
              <a:t>Avoid</a:t>
            </a:r>
            <a:r>
              <a:rPr lang="de-DE" sz="2000" kern="0" dirty="0">
                <a:latin typeface="+mn-lt"/>
              </a:rPr>
              <a:t> 1 </a:t>
            </a:r>
            <a:r>
              <a:rPr lang="de-DE" sz="2000" kern="0" dirty="0" err="1">
                <a:latin typeface="+mn-lt"/>
              </a:rPr>
              <a:t>way</a:t>
            </a:r>
            <a:r>
              <a:rPr lang="de-DE" sz="2000" kern="0" dirty="0">
                <a:latin typeface="+mn-lt"/>
              </a:rPr>
              <a:t> </a:t>
            </a:r>
            <a:r>
              <a:rPr lang="de-DE" sz="2000" kern="0" dirty="0" err="1">
                <a:latin typeface="+mn-lt"/>
              </a:rPr>
              <a:t>door</a:t>
            </a:r>
            <a:r>
              <a:rPr lang="de-DE" sz="2000" kern="0" dirty="0">
                <a:latin typeface="+mn-lt"/>
              </a:rPr>
              <a:t> </a:t>
            </a:r>
            <a:r>
              <a:rPr lang="de-DE" sz="2000" kern="0" dirty="0" err="1">
                <a:latin typeface="+mn-lt"/>
              </a:rPr>
              <a:t>decisions</a:t>
            </a:r>
            <a:r>
              <a:rPr lang="de-DE" sz="2000" kern="0" dirty="0">
                <a:latin typeface="+mn-lt"/>
              </a:rPr>
              <a:t> (</a:t>
            </a:r>
            <a:r>
              <a:rPr lang="de-DE" sz="2000" kern="0" dirty="0" err="1">
                <a:latin typeface="+mn-lt"/>
              </a:rPr>
              <a:t>stay</a:t>
            </a:r>
            <a:r>
              <a:rPr lang="de-DE" sz="2000" kern="0" dirty="0">
                <a:latin typeface="+mn-lt"/>
              </a:rPr>
              <a:t> flexible)</a:t>
            </a:r>
          </a:p>
          <a:p>
            <a:pPr marL="285750" indent="-285750" algn="l">
              <a:lnSpc>
                <a:spcPct val="150000"/>
              </a:lnSpc>
              <a:buClr>
                <a:srgbClr val="9B9B9B"/>
              </a:buClr>
              <a:buFont typeface="Arial" panose="020B0604020202020204" pitchFamily="34" charset="0"/>
              <a:buChar char="•"/>
            </a:pPr>
            <a:r>
              <a:rPr lang="de-DE" sz="2000" b="1" kern="0" dirty="0">
                <a:latin typeface="+mn-lt"/>
              </a:rPr>
              <a:t>Focus on </a:t>
            </a:r>
            <a:r>
              <a:rPr lang="de-DE" sz="2000" b="1" kern="0" dirty="0" err="1">
                <a:latin typeface="+mn-lt"/>
              </a:rPr>
              <a:t>Visibility</a:t>
            </a:r>
            <a:r>
              <a:rPr lang="de-DE" sz="2000" b="1" kern="0" dirty="0">
                <a:latin typeface="+mn-lt"/>
              </a:rPr>
              <a:t> </a:t>
            </a:r>
            <a:r>
              <a:rPr lang="de-DE" sz="2000" kern="0" dirty="0">
                <a:latin typeface="+mn-lt"/>
              </a:rPr>
              <a:t>– Flow &amp; Business Value</a:t>
            </a:r>
          </a:p>
        </p:txBody>
      </p:sp>
    </p:spTree>
    <p:extLst>
      <p:ext uri="{BB962C8B-B14F-4D97-AF65-F5344CB8AC3E}">
        <p14:creationId xmlns:p14="http://schemas.microsoft.com/office/powerpoint/2010/main" val="18796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loud Operations and Environments Away Day - 19Mar18">
  <a:themeElements>
    <a:clrScheme name="Benutzerdefiniert 90">
      <a:dk1>
        <a:srgbClr val="092A5E"/>
      </a:dk1>
      <a:lt1>
        <a:srgbClr val="FFFFFF"/>
      </a:lt1>
      <a:dk2>
        <a:srgbClr val="737373"/>
      </a:dk2>
      <a:lt2>
        <a:srgbClr val="DCDCDC"/>
      </a:lt2>
      <a:accent1>
        <a:srgbClr val="092A5E"/>
      </a:accent1>
      <a:accent2>
        <a:srgbClr val="C2E6FA"/>
      </a:accent2>
      <a:accent3>
        <a:srgbClr val="70CBF4"/>
      </a:accent3>
      <a:accent4>
        <a:srgbClr val="EF0000"/>
      </a:accent4>
      <a:accent5>
        <a:srgbClr val="FFE100"/>
      </a:accent5>
      <a:accent6>
        <a:srgbClr val="AAD700"/>
      </a:accent6>
      <a:hlink>
        <a:srgbClr val="000000"/>
      </a:hlink>
      <a:folHlink>
        <a:srgbClr val="000000"/>
      </a:folHlink>
    </a:clrScheme>
    <a:fontScheme name="Benutzerdefiniert 113">
      <a:majorFont>
        <a:latin typeface="TUITypeLight"/>
        <a:ea typeface=""/>
        <a:cs typeface=""/>
      </a:majorFont>
      <a:minorFont>
        <a:latin typeface="TUIType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 algn="ctr">
          <a:solidFill>
            <a:schemeClr val="accent2"/>
          </a:solidFill>
          <a:miter lim="800000"/>
          <a:headEnd/>
          <a:tailEnd/>
        </a:ln>
      </a:spPr>
      <a:bodyPr wrap="square" lIns="36000" tIns="0" rIns="36000" bIns="0" anchor="ctr"/>
      <a:lstStyle>
        <a:defPPr>
          <a:lnSpc>
            <a:spcPct val="80000"/>
          </a:lnSpc>
          <a:buClrTx/>
          <a:buSzTx/>
          <a:defRPr sz="1400" b="1" kern="0" dirty="0" smtClean="0">
            <a:latin typeface="TUIType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800" smtClean="0">
            <a:solidFill>
              <a:schemeClr val="accent1"/>
            </a:solidFill>
          </a:defRPr>
        </a:defPPr>
      </a:lstStyle>
    </a:txDef>
  </a:objectDefaults>
  <a:extraClrSchemeLst>
    <a:extraClrScheme>
      <a:clrScheme name="ppt_template 1">
        <a:dk1>
          <a:srgbClr val="000000"/>
        </a:dk1>
        <a:lt1>
          <a:srgbClr val="FFFFFF"/>
        </a:lt1>
        <a:dk2>
          <a:srgbClr val="092A5E"/>
        </a:dk2>
        <a:lt2>
          <a:srgbClr val="9B9B9B"/>
        </a:lt2>
        <a:accent1>
          <a:srgbClr val="6699FF"/>
        </a:accent1>
        <a:accent2>
          <a:srgbClr val="C8E6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B5D0E7"/>
        </a:accent6>
        <a:hlink>
          <a:srgbClr val="FF8800"/>
        </a:hlink>
        <a:folHlink>
          <a:srgbClr val="002D4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UI GROUP_POTX_Template_4x3_20160827.potx" id="{82F7B225-7561-4DCA-8F08-717175922301}" vid="{7182DB29-A6B9-46D2-861A-28DEDA8F332B}"/>
    </a:ext>
  </a:extLst>
</a:theme>
</file>

<file path=ppt/theme/theme2.xml><?xml version="1.0" encoding="utf-8"?>
<a:theme xmlns:a="http://schemas.openxmlformats.org/drawingml/2006/main" name="1_TUI_PowerPoint_Template_16x9_FINAL_20160928">
  <a:themeElements>
    <a:clrScheme name="Benutzerdefiniert 90">
      <a:dk1>
        <a:srgbClr val="092A5E"/>
      </a:dk1>
      <a:lt1>
        <a:srgbClr val="FFFFFF"/>
      </a:lt1>
      <a:dk2>
        <a:srgbClr val="737373"/>
      </a:dk2>
      <a:lt2>
        <a:srgbClr val="DCDCDC"/>
      </a:lt2>
      <a:accent1>
        <a:srgbClr val="092A5E"/>
      </a:accent1>
      <a:accent2>
        <a:srgbClr val="C2E6FA"/>
      </a:accent2>
      <a:accent3>
        <a:srgbClr val="70CBF4"/>
      </a:accent3>
      <a:accent4>
        <a:srgbClr val="EF0000"/>
      </a:accent4>
      <a:accent5>
        <a:srgbClr val="FFE100"/>
      </a:accent5>
      <a:accent6>
        <a:srgbClr val="AAD700"/>
      </a:accent6>
      <a:hlink>
        <a:srgbClr val="000000"/>
      </a:hlink>
      <a:folHlink>
        <a:srgbClr val="000000"/>
      </a:folHlink>
    </a:clrScheme>
    <a:fontScheme name="Benutzerdefiniert 113">
      <a:majorFont>
        <a:latin typeface="TUITypeLight"/>
        <a:ea typeface=""/>
        <a:cs typeface=""/>
      </a:majorFont>
      <a:minorFont>
        <a:latin typeface="TUIType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rot="0" spcFirstLastPara="0" vertOverflow="overflow" horzOverflow="overflow" vert="horz" wrap="square" lIns="82800" tIns="46800" rIns="828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 marR="0" algn="ctr" defTabSz="914400" rtl="0" eaLnBrk="0" fontAlgn="base" latinLnBrk="0" hangingPunct="0">
          <a:lnSpc>
            <a:spcPct val="95000"/>
          </a:lnSpc>
          <a:spcBef>
            <a:spcPct val="0"/>
          </a:spcBef>
          <a:spcAft>
            <a:spcPct val="0"/>
          </a:spcAft>
          <a:buClrTx/>
          <a:buSzPct val="100000"/>
          <a:tabLst/>
          <a:defRPr kumimoji="0" sz="1800" b="0" i="0" u="none" strike="noStrike" cap="none" normalizeH="0" baseline="0" dirty="0" err="1" smtClean="0">
            <a:ln>
              <a:noFill/>
            </a:ln>
            <a:effectLst/>
            <a:latin typeface="TUIType" pitchFamily="34" charset="0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800" dirty="0" err="1" smtClean="0"/>
        </a:defPPr>
      </a:lstStyle>
    </a:txDef>
  </a:objectDefaults>
  <a:extraClrSchemeLst>
    <a:extraClrScheme>
      <a:clrScheme name="ppt_template 1">
        <a:dk1>
          <a:srgbClr val="000000"/>
        </a:dk1>
        <a:lt1>
          <a:srgbClr val="FFFFFF"/>
        </a:lt1>
        <a:dk2>
          <a:srgbClr val="092A5E"/>
        </a:dk2>
        <a:lt2>
          <a:srgbClr val="9B9B9B"/>
        </a:lt2>
        <a:accent1>
          <a:srgbClr val="6699FF"/>
        </a:accent1>
        <a:accent2>
          <a:srgbClr val="C8E6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B5D0E7"/>
        </a:accent6>
        <a:hlink>
          <a:srgbClr val="FF8800"/>
        </a:hlink>
        <a:folHlink>
          <a:srgbClr val="002D4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UI GROUP_POTX_Template_16x9_20160827.potx" id="{25211C2D-5FCA-4DAD-9343-88EDE5790FA8}" vid="{001E1DB3-063D-4FDE-9CE9-8E35444630F1}"/>
    </a:ext>
  </a:extLst>
</a:theme>
</file>

<file path=ppt/theme/theme3.xml><?xml version="1.0" encoding="utf-8"?>
<a:theme xmlns:a="http://schemas.openxmlformats.org/drawingml/2006/main" name="2_TUI_PowerPoint_Template_4x3_FINAL_20160928">
  <a:themeElements>
    <a:clrScheme name="Benutzerdefiniert 90">
      <a:dk1>
        <a:srgbClr val="092A5E"/>
      </a:dk1>
      <a:lt1>
        <a:srgbClr val="FFFFFF"/>
      </a:lt1>
      <a:dk2>
        <a:srgbClr val="737373"/>
      </a:dk2>
      <a:lt2>
        <a:srgbClr val="DCDCDC"/>
      </a:lt2>
      <a:accent1>
        <a:srgbClr val="092A5E"/>
      </a:accent1>
      <a:accent2>
        <a:srgbClr val="C2E6FA"/>
      </a:accent2>
      <a:accent3>
        <a:srgbClr val="70CBF4"/>
      </a:accent3>
      <a:accent4>
        <a:srgbClr val="EF0000"/>
      </a:accent4>
      <a:accent5>
        <a:srgbClr val="FFE100"/>
      </a:accent5>
      <a:accent6>
        <a:srgbClr val="AAD700"/>
      </a:accent6>
      <a:hlink>
        <a:srgbClr val="000000"/>
      </a:hlink>
      <a:folHlink>
        <a:srgbClr val="000000"/>
      </a:folHlink>
    </a:clrScheme>
    <a:fontScheme name="Benutzerdefiniert 113">
      <a:majorFont>
        <a:latin typeface="TUITypeLight"/>
        <a:ea typeface=""/>
        <a:cs typeface=""/>
      </a:majorFont>
      <a:minorFont>
        <a:latin typeface="TUIType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 algn="ctr">
          <a:solidFill>
            <a:schemeClr val="accent2"/>
          </a:solidFill>
          <a:miter lim="800000"/>
          <a:headEnd/>
          <a:tailEnd/>
        </a:ln>
      </a:spPr>
      <a:bodyPr wrap="square" lIns="36000" tIns="0" rIns="36000" bIns="0" anchor="ctr"/>
      <a:lstStyle>
        <a:defPPr>
          <a:lnSpc>
            <a:spcPct val="80000"/>
          </a:lnSpc>
          <a:buClrTx/>
          <a:buSzTx/>
          <a:defRPr sz="1400" b="1" kern="0" dirty="0" smtClean="0">
            <a:latin typeface="TUIType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800" smtClean="0">
            <a:solidFill>
              <a:schemeClr val="accent1"/>
            </a:solidFill>
          </a:defRPr>
        </a:defPPr>
      </a:lstStyle>
    </a:txDef>
  </a:objectDefaults>
  <a:extraClrSchemeLst>
    <a:extraClrScheme>
      <a:clrScheme name="ppt_template 1">
        <a:dk1>
          <a:srgbClr val="000000"/>
        </a:dk1>
        <a:lt1>
          <a:srgbClr val="FFFFFF"/>
        </a:lt1>
        <a:dk2>
          <a:srgbClr val="092A5E"/>
        </a:dk2>
        <a:lt2>
          <a:srgbClr val="9B9B9B"/>
        </a:lt2>
        <a:accent1>
          <a:srgbClr val="6699FF"/>
        </a:accent1>
        <a:accent2>
          <a:srgbClr val="C8E6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B5D0E7"/>
        </a:accent6>
        <a:hlink>
          <a:srgbClr val="FF8800"/>
        </a:hlink>
        <a:folHlink>
          <a:srgbClr val="002D4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UI GROUP_POTX_Template_4x3_20160827.potx" id="{82F7B225-7561-4DCA-8F08-717175922301}" vid="{7182DB29-A6B9-46D2-861A-28DEDA8F332B}"/>
    </a:ext>
  </a:extLst>
</a:theme>
</file>

<file path=ppt/theme/theme4.xml><?xml version="1.0" encoding="utf-8"?>
<a:theme xmlns:a="http://schemas.openxmlformats.org/drawingml/2006/main" name="2017 TUI Presentation Template">
  <a:themeElements>
    <a:clrScheme name="Benutzerdefiniert 90">
      <a:dk1>
        <a:srgbClr val="092A5E"/>
      </a:dk1>
      <a:lt1>
        <a:srgbClr val="FFFFFF"/>
      </a:lt1>
      <a:dk2>
        <a:srgbClr val="737373"/>
      </a:dk2>
      <a:lt2>
        <a:srgbClr val="DCDCDC"/>
      </a:lt2>
      <a:accent1>
        <a:srgbClr val="092A5E"/>
      </a:accent1>
      <a:accent2>
        <a:srgbClr val="C2E6FA"/>
      </a:accent2>
      <a:accent3>
        <a:srgbClr val="70CBF4"/>
      </a:accent3>
      <a:accent4>
        <a:srgbClr val="EF0000"/>
      </a:accent4>
      <a:accent5>
        <a:srgbClr val="FFE100"/>
      </a:accent5>
      <a:accent6>
        <a:srgbClr val="AAD700"/>
      </a:accent6>
      <a:hlink>
        <a:srgbClr val="000000"/>
      </a:hlink>
      <a:folHlink>
        <a:srgbClr val="000000"/>
      </a:folHlink>
    </a:clrScheme>
    <a:fontScheme name="Benutzerdefiniert 113">
      <a:majorFont>
        <a:latin typeface="TUITypeLight"/>
        <a:ea typeface=""/>
        <a:cs typeface=""/>
      </a:majorFont>
      <a:minorFont>
        <a:latin typeface="TUIType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rot="0" spcFirstLastPara="0" vertOverflow="overflow" horzOverflow="overflow" vert="horz" wrap="square" lIns="82800" tIns="46800" rIns="828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 marR="0" algn="ctr" defTabSz="914400" rtl="0" eaLnBrk="0" fontAlgn="base" latinLnBrk="0" hangingPunct="0">
          <a:lnSpc>
            <a:spcPct val="95000"/>
          </a:lnSpc>
          <a:spcBef>
            <a:spcPct val="0"/>
          </a:spcBef>
          <a:spcAft>
            <a:spcPct val="0"/>
          </a:spcAft>
          <a:buClrTx/>
          <a:buSzPct val="100000"/>
          <a:tabLst/>
          <a:defRPr kumimoji="0" sz="1800" b="0" i="0" u="none" strike="noStrike" cap="none" normalizeH="0" baseline="0" dirty="0" err="1" smtClean="0">
            <a:ln>
              <a:noFill/>
            </a:ln>
            <a:effectLst/>
            <a:latin typeface="TUIType" pitchFamily="34" charset="0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800" dirty="0" err="1" smtClean="0"/>
        </a:defPPr>
      </a:lstStyle>
    </a:txDef>
  </a:objectDefaults>
  <a:extraClrSchemeLst>
    <a:extraClrScheme>
      <a:clrScheme name="ppt_template 1">
        <a:dk1>
          <a:srgbClr val="000000"/>
        </a:dk1>
        <a:lt1>
          <a:srgbClr val="FFFFFF"/>
        </a:lt1>
        <a:dk2>
          <a:srgbClr val="092A5E"/>
        </a:dk2>
        <a:lt2>
          <a:srgbClr val="9B9B9B"/>
        </a:lt2>
        <a:accent1>
          <a:srgbClr val="6699FF"/>
        </a:accent1>
        <a:accent2>
          <a:srgbClr val="C8E6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B5D0E7"/>
        </a:accent6>
        <a:hlink>
          <a:srgbClr val="FF8800"/>
        </a:hlink>
        <a:folHlink>
          <a:srgbClr val="002D4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UI GROUP_POTX_Template_16x9_20160827.potx" id="{25211C2D-5FCA-4DAD-9343-88EDE5790FA8}" vid="{001E1DB3-063D-4FDE-9CE9-8E35444630F1}"/>
    </a:ext>
  </a:extLst>
</a:theme>
</file>

<file path=ppt/theme/theme5.xml><?xml version="1.0" encoding="utf-8"?>
<a:theme xmlns:a="http://schemas.openxmlformats.org/drawingml/2006/main" name="TUI_PowerPoint_Template_16x9_FINAL_20160928">
  <a:themeElements>
    <a:clrScheme name="Benutzerdefiniert 90">
      <a:dk1>
        <a:srgbClr val="092A5E"/>
      </a:dk1>
      <a:lt1>
        <a:srgbClr val="FFFFFF"/>
      </a:lt1>
      <a:dk2>
        <a:srgbClr val="737373"/>
      </a:dk2>
      <a:lt2>
        <a:srgbClr val="DCDCDC"/>
      </a:lt2>
      <a:accent1>
        <a:srgbClr val="092A5E"/>
      </a:accent1>
      <a:accent2>
        <a:srgbClr val="C2E6FA"/>
      </a:accent2>
      <a:accent3>
        <a:srgbClr val="70CBF4"/>
      </a:accent3>
      <a:accent4>
        <a:srgbClr val="EF0000"/>
      </a:accent4>
      <a:accent5>
        <a:srgbClr val="FFE100"/>
      </a:accent5>
      <a:accent6>
        <a:srgbClr val="AAD700"/>
      </a:accent6>
      <a:hlink>
        <a:srgbClr val="000000"/>
      </a:hlink>
      <a:folHlink>
        <a:srgbClr val="000000"/>
      </a:folHlink>
    </a:clrScheme>
    <a:fontScheme name="Benutzerdefiniert 113">
      <a:majorFont>
        <a:latin typeface="TUITypeLight"/>
        <a:ea typeface=""/>
        <a:cs typeface=""/>
      </a:majorFont>
      <a:minorFont>
        <a:latin typeface="TUIType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rot="0" spcFirstLastPara="0" vertOverflow="overflow" horzOverflow="overflow" vert="horz" wrap="square" lIns="82800" tIns="46800" rIns="828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 marR="0" algn="ctr" defTabSz="914400" rtl="0" eaLnBrk="0" fontAlgn="base" latinLnBrk="0" hangingPunct="0">
          <a:lnSpc>
            <a:spcPct val="95000"/>
          </a:lnSpc>
          <a:spcBef>
            <a:spcPct val="0"/>
          </a:spcBef>
          <a:spcAft>
            <a:spcPct val="0"/>
          </a:spcAft>
          <a:buClrTx/>
          <a:buSzPct val="100000"/>
          <a:tabLst/>
          <a:defRPr kumimoji="0" sz="1800" b="0" i="0" u="none" strike="noStrike" cap="none" normalizeH="0" baseline="0" dirty="0" err="1" smtClean="0">
            <a:ln>
              <a:noFill/>
            </a:ln>
            <a:effectLst/>
            <a:latin typeface="TUIType" pitchFamily="34" charset="0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800" dirty="0" err="1" smtClean="0"/>
        </a:defPPr>
      </a:lstStyle>
    </a:txDef>
  </a:objectDefaults>
  <a:extraClrSchemeLst>
    <a:extraClrScheme>
      <a:clrScheme name="ppt_template 1">
        <a:dk1>
          <a:srgbClr val="000000"/>
        </a:dk1>
        <a:lt1>
          <a:srgbClr val="FFFFFF"/>
        </a:lt1>
        <a:dk2>
          <a:srgbClr val="092A5E"/>
        </a:dk2>
        <a:lt2>
          <a:srgbClr val="9B9B9B"/>
        </a:lt2>
        <a:accent1>
          <a:srgbClr val="6699FF"/>
        </a:accent1>
        <a:accent2>
          <a:srgbClr val="C8E6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B5D0E7"/>
        </a:accent6>
        <a:hlink>
          <a:srgbClr val="FF8800"/>
        </a:hlink>
        <a:folHlink>
          <a:srgbClr val="002D4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UI GROUP_POTX_Template_16x9_20160827.potx" id="{25211C2D-5FCA-4DAD-9343-88EDE5790FA8}" vid="{001E1DB3-063D-4FDE-9CE9-8E35444630F1}"/>
    </a:ext>
  </a:extLst>
</a:theme>
</file>

<file path=ppt/theme/theme6.xml><?xml version="1.0" encoding="utf-8"?>
<a:theme xmlns:a="http://schemas.openxmlformats.org/drawingml/2006/main" name="TUI_PowerPoint_Template_4x3_FINAL_20160928">
  <a:themeElements>
    <a:clrScheme name="Benutzerdefiniert 90">
      <a:dk1>
        <a:srgbClr val="092A5E"/>
      </a:dk1>
      <a:lt1>
        <a:srgbClr val="FFFFFF"/>
      </a:lt1>
      <a:dk2>
        <a:srgbClr val="737373"/>
      </a:dk2>
      <a:lt2>
        <a:srgbClr val="DCDCDC"/>
      </a:lt2>
      <a:accent1>
        <a:srgbClr val="092A5E"/>
      </a:accent1>
      <a:accent2>
        <a:srgbClr val="C2E6FA"/>
      </a:accent2>
      <a:accent3>
        <a:srgbClr val="70CBF4"/>
      </a:accent3>
      <a:accent4>
        <a:srgbClr val="EF0000"/>
      </a:accent4>
      <a:accent5>
        <a:srgbClr val="FFE100"/>
      </a:accent5>
      <a:accent6>
        <a:srgbClr val="AAD700"/>
      </a:accent6>
      <a:hlink>
        <a:srgbClr val="000000"/>
      </a:hlink>
      <a:folHlink>
        <a:srgbClr val="000000"/>
      </a:folHlink>
    </a:clrScheme>
    <a:fontScheme name="Benutzerdefiniert 113">
      <a:majorFont>
        <a:latin typeface="TUITypeLight"/>
        <a:ea typeface=""/>
        <a:cs typeface=""/>
      </a:majorFont>
      <a:minorFont>
        <a:latin typeface="TUIType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 algn="ctr">
          <a:solidFill>
            <a:schemeClr val="accent2"/>
          </a:solidFill>
          <a:miter lim="800000"/>
          <a:headEnd/>
          <a:tailEnd/>
        </a:ln>
      </a:spPr>
      <a:bodyPr wrap="square" lIns="36000" tIns="0" rIns="36000" bIns="0" anchor="ctr"/>
      <a:lstStyle>
        <a:defPPr>
          <a:lnSpc>
            <a:spcPct val="80000"/>
          </a:lnSpc>
          <a:buClrTx/>
          <a:buSzTx/>
          <a:defRPr sz="1400" b="1" kern="0" dirty="0" smtClean="0">
            <a:latin typeface="TUIType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800" smtClean="0">
            <a:solidFill>
              <a:schemeClr val="accent1"/>
            </a:solidFill>
          </a:defRPr>
        </a:defPPr>
      </a:lstStyle>
    </a:txDef>
  </a:objectDefaults>
  <a:extraClrSchemeLst>
    <a:extraClrScheme>
      <a:clrScheme name="ppt_template 1">
        <a:dk1>
          <a:srgbClr val="000000"/>
        </a:dk1>
        <a:lt1>
          <a:srgbClr val="FFFFFF"/>
        </a:lt1>
        <a:dk2>
          <a:srgbClr val="092A5E"/>
        </a:dk2>
        <a:lt2>
          <a:srgbClr val="9B9B9B"/>
        </a:lt2>
        <a:accent1>
          <a:srgbClr val="6699FF"/>
        </a:accent1>
        <a:accent2>
          <a:srgbClr val="C8E6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B5D0E7"/>
        </a:accent6>
        <a:hlink>
          <a:srgbClr val="FF8800"/>
        </a:hlink>
        <a:folHlink>
          <a:srgbClr val="002D4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UI GROUP_POTX_Template_4x3_20160827.potx" id="{82F7B225-7561-4DCA-8F08-717175922301}" vid="{7182DB29-A6B9-46D2-861A-28DEDA8F332B}"/>
    </a:ext>
  </a:extLst>
</a:theme>
</file>

<file path=ppt/theme/theme7.xml><?xml version="1.0" encoding="utf-8"?>
<a:theme xmlns:a="http://schemas.openxmlformats.org/drawingml/2006/main" name="TUI_PowerPoint_Template_16x9_FINAL_20180730">
  <a:themeElements>
    <a:clrScheme name="TUI">
      <a:dk1>
        <a:srgbClr val="092A5E"/>
      </a:dk1>
      <a:lt1>
        <a:srgbClr val="FFFFFF"/>
      </a:lt1>
      <a:dk2>
        <a:srgbClr val="737373"/>
      </a:dk2>
      <a:lt2>
        <a:srgbClr val="DCDCDC"/>
      </a:lt2>
      <a:accent1>
        <a:srgbClr val="092A5E"/>
      </a:accent1>
      <a:accent2>
        <a:srgbClr val="C2E6FA"/>
      </a:accent2>
      <a:accent3>
        <a:srgbClr val="70CBF4"/>
      </a:accent3>
      <a:accent4>
        <a:srgbClr val="D40E14"/>
      </a:accent4>
      <a:accent5>
        <a:srgbClr val="FFE100"/>
      </a:accent5>
      <a:accent6>
        <a:srgbClr val="AAD700"/>
      </a:accent6>
      <a:hlink>
        <a:srgbClr val="000000"/>
      </a:hlink>
      <a:folHlink>
        <a:srgbClr val="000000"/>
      </a:folHlink>
    </a:clrScheme>
    <a:fontScheme name="Benutzerdefiniert 113">
      <a:majorFont>
        <a:latin typeface="TUITypeLight"/>
        <a:ea typeface=""/>
        <a:cs typeface=""/>
      </a:majorFont>
      <a:minorFont>
        <a:latin typeface="TUIType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>
            <a:alpha val="89000"/>
          </a:srgbClr>
        </a:solidFill>
        <a:ln>
          <a:noFill/>
        </a:ln>
      </a:spPr>
      <a:bodyPr lIns="82800" tIns="46800" rIns="82800" bIns="46800" anchor="ctr"/>
      <a:lstStyle>
        <a:defPPr fontAlgn="auto">
          <a:spcBef>
            <a:spcPts val="0"/>
          </a:spcBef>
          <a:spcAft>
            <a:spcPts val="0"/>
          </a:spcAft>
          <a:buClr>
            <a:srgbClr val="092A5E"/>
          </a:buClr>
          <a:defRPr sz="1800" kern="0" dirty="0" smtClean="0">
            <a:solidFill>
              <a:sysClr val="windowText" lastClr="000000"/>
            </a:solidFill>
            <a:latin typeface="+mn-lt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rtlCol="0">
        <a:spAutoFit/>
      </a:bodyPr>
      <a:lstStyle>
        <a:defPPr marL="177800" indent="-177800" algn="l" defTabSz="1425575" eaLnBrk="1" hangingPunct="1">
          <a:spcBef>
            <a:spcPts val="600"/>
          </a:spcBef>
          <a:spcAft>
            <a:spcPts val="0"/>
          </a:spcAft>
          <a:buClrTx/>
          <a:buSzPct val="100000"/>
          <a:buFont typeface="TUIType" pitchFamily="34" charset="0"/>
          <a:buChar char="•"/>
          <a:tabLst>
            <a:tab pos="266700" algn="l"/>
            <a:tab pos="2085975" algn="l"/>
            <a:tab pos="4171950" algn="l"/>
            <a:tab pos="6267450" algn="l"/>
          </a:tabLst>
          <a:defRPr sz="1400" kern="0" dirty="0" err="1">
            <a:solidFill>
              <a:srgbClr val="092A5E"/>
            </a:solidFill>
            <a:latin typeface="TUITypeLight"/>
          </a:defRPr>
        </a:defPPr>
      </a:lstStyle>
    </a:txDef>
  </a:objectDefaults>
  <a:extraClrSchemeLst>
    <a:extraClrScheme>
      <a:clrScheme name="ppt_template 1">
        <a:dk1>
          <a:srgbClr val="000000"/>
        </a:dk1>
        <a:lt1>
          <a:srgbClr val="FFFFFF"/>
        </a:lt1>
        <a:dk2>
          <a:srgbClr val="092A5E"/>
        </a:dk2>
        <a:lt2>
          <a:srgbClr val="9B9B9B"/>
        </a:lt2>
        <a:accent1>
          <a:srgbClr val="6699FF"/>
        </a:accent1>
        <a:accent2>
          <a:srgbClr val="C8E6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B5D0E7"/>
        </a:accent6>
        <a:hlink>
          <a:srgbClr val="FF8800"/>
        </a:hlink>
        <a:folHlink>
          <a:srgbClr val="002D4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UI GROUP_POTX_Template_16x9_20160827.potx" id="{25211C2D-5FCA-4DAD-9343-88EDE5790FA8}" vid="{001E1DB3-063D-4FDE-9CE9-8E35444630F1}"/>
    </a:ext>
  </a:extLst>
</a:theme>
</file>

<file path=ppt/theme/theme8.xml><?xml version="1.0" encoding="utf-8"?>
<a:theme xmlns:a="http://schemas.openxmlformats.org/drawingml/2006/main" name="Larissa">
  <a:themeElements>
    <a:clrScheme name="Benutzerdefiniert 53">
      <a:dk1>
        <a:srgbClr val="092A5E"/>
      </a:dk1>
      <a:lt1>
        <a:srgbClr val="FFFFFF"/>
      </a:lt1>
      <a:dk2>
        <a:srgbClr val="737373"/>
      </a:dk2>
      <a:lt2>
        <a:srgbClr val="DCDCDC"/>
      </a:lt2>
      <a:accent1>
        <a:srgbClr val="092A5E"/>
      </a:accent1>
      <a:accent2>
        <a:srgbClr val="C2E6FA"/>
      </a:accent2>
      <a:accent3>
        <a:srgbClr val="70CBF4"/>
      </a:accent3>
      <a:accent4>
        <a:srgbClr val="EF0000"/>
      </a:accent4>
      <a:accent5>
        <a:srgbClr val="D7D2C3"/>
      </a:accent5>
      <a:accent6>
        <a:srgbClr val="AAD700"/>
      </a:accent6>
      <a:hlink>
        <a:srgbClr val="000000"/>
      </a:hlink>
      <a:folHlink>
        <a:srgbClr val="000000"/>
      </a:folHlink>
    </a:clrScheme>
    <a:fontScheme name="TUI">
      <a:majorFont>
        <a:latin typeface="TUIType"/>
        <a:ea typeface=""/>
        <a:cs typeface=""/>
      </a:majorFont>
      <a:minorFont>
        <a:latin typeface="TUI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Larissa">
  <a:themeElements>
    <a:clrScheme name="Benutzerdefiniert 53">
      <a:dk1>
        <a:srgbClr val="092A5E"/>
      </a:dk1>
      <a:lt1>
        <a:srgbClr val="FFFFFF"/>
      </a:lt1>
      <a:dk2>
        <a:srgbClr val="737373"/>
      </a:dk2>
      <a:lt2>
        <a:srgbClr val="DCDCDC"/>
      </a:lt2>
      <a:accent1>
        <a:srgbClr val="092A5E"/>
      </a:accent1>
      <a:accent2>
        <a:srgbClr val="C2E6FA"/>
      </a:accent2>
      <a:accent3>
        <a:srgbClr val="70CBF4"/>
      </a:accent3>
      <a:accent4>
        <a:srgbClr val="EF0000"/>
      </a:accent4>
      <a:accent5>
        <a:srgbClr val="D7D2C3"/>
      </a:accent5>
      <a:accent6>
        <a:srgbClr val="AAD700"/>
      </a:accent6>
      <a:hlink>
        <a:srgbClr val="000000"/>
      </a:hlink>
      <a:folHlink>
        <a:srgbClr val="000000"/>
      </a:folHlink>
    </a:clrScheme>
    <a:fontScheme name="TUI">
      <a:majorFont>
        <a:latin typeface="TUIType"/>
        <a:ea typeface=""/>
        <a:cs typeface=""/>
      </a:majorFont>
      <a:minorFont>
        <a:latin typeface="TUI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oud Operations and Environments Away Day - 19Mar18</Template>
  <TotalTime>42027</TotalTime>
  <Pages>5</Pages>
  <Words>884</Words>
  <Application>Microsoft Macintosh PowerPoint</Application>
  <PresentationFormat>Custom</PresentationFormat>
  <Paragraphs>132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6" baseType="lpstr">
      <vt:lpstr>Arial</vt:lpstr>
      <vt:lpstr>TUIType</vt:lpstr>
      <vt:lpstr>TUIType Light</vt:lpstr>
      <vt:lpstr>TUITypeLight</vt:lpstr>
      <vt:lpstr>Wingdings</vt:lpstr>
      <vt:lpstr>Cloud Operations and Environments Away Day - 19Mar18</vt:lpstr>
      <vt:lpstr>1_TUI_PowerPoint_Template_16x9_FINAL_20160928</vt:lpstr>
      <vt:lpstr>2_TUI_PowerPoint_Template_4x3_FINAL_20160928</vt:lpstr>
      <vt:lpstr>2017 TUI Presentation Template</vt:lpstr>
      <vt:lpstr>TUI_PowerPoint_Template_16x9_FINAL_20160928</vt:lpstr>
      <vt:lpstr>TUI_PowerPoint_Template_4x3_FINAL_20160928</vt:lpstr>
      <vt:lpstr>TUI_PowerPoint_Template_16x9_FINAL_20180730</vt:lpstr>
      <vt:lpstr>think-cell Folie</vt:lpstr>
      <vt:lpstr>How to DevOps the hell out of your COVID Crisis    </vt:lpstr>
      <vt:lpstr>Pieter Jordaan – TUI Group CTO</vt:lpstr>
      <vt:lpstr>Journey of €20 Billion Group to all-in Cloud, DevOps and Product Organisation during COVID Crisis  </vt:lpstr>
      <vt:lpstr>The world’s number one integrated travel company</vt:lpstr>
      <vt:lpstr>Our Transformation Journey</vt:lpstr>
      <vt:lpstr>PowerPoint Presentation</vt:lpstr>
      <vt:lpstr>PowerPoint Presentation</vt:lpstr>
      <vt:lpstr>Leadership Transformation Requirements</vt:lpstr>
      <vt:lpstr>PowerPoint Presentation</vt:lpstr>
      <vt:lpstr>PowerPoint Presentation</vt:lpstr>
      <vt:lpstr>PowerPoint Presentation</vt:lpstr>
      <vt:lpstr>What are we doing now and how can you help? </vt:lpstr>
      <vt:lpstr>Thank You</vt:lpstr>
    </vt:vector>
  </TitlesOfParts>
  <Manager/>
  <Company>TUI UK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Operations &amp; Environments – Apr18</dc:title>
  <dc:subject/>
  <dc:creator>Yasin Quareshy</dc:creator>
  <cp:keywords/>
  <dc:description/>
  <cp:lastModifiedBy>Alex Broderick-Forster</cp:lastModifiedBy>
  <cp:revision>283</cp:revision>
  <cp:lastPrinted>2016-09-08T11:39:39Z</cp:lastPrinted>
  <dcterms:created xsi:type="dcterms:W3CDTF">2018-03-18T14:45:41Z</dcterms:created>
  <dcterms:modified xsi:type="dcterms:W3CDTF">2021-05-14T19:56:3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